
<file path=[Content_Types].xml><?xml version="1.0" encoding="utf-8"?>
<Types xmlns="http://schemas.openxmlformats.org/package/2006/content-types">
  <Default Extension="png" ContentType="image/png"/>
  <Default Extension="jpeg" ContentType="image/jpeg"/>
  <Default Extension="wmf" ContentType="image/x-wmf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charts/chart1.xml" ContentType="application/vnd.openxmlformats-officedocument.drawingml.chart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charts/chart2.xml" ContentType="application/vnd.openxmlformats-officedocument.drawingml.chart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charts/chart3.xml" ContentType="application/vnd.openxmlformats-officedocument.drawingml.chart+xml"/>
  <Override PartName="/ppt/tags/tag8.xml" ContentType="application/vnd.openxmlformats-officedocument.presentationml.tags+xml"/>
  <Override PartName="/ppt/notesSlides/notesSlide14.xml" ContentType="application/vnd.openxmlformats-officedocument.presentationml.notesSlide+xml"/>
  <Override PartName="/ppt/tags/tag9.xml" ContentType="application/vnd.openxmlformats-officedocument.presentationml.tags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tags/tag10.xml" ContentType="application/vnd.openxmlformats-officedocument.presentationml.tags+xml"/>
  <Override PartName="/ppt/notesSlides/notesSlide17.xml" ContentType="application/vnd.openxmlformats-officedocument.presentationml.notesSlide+xml"/>
  <Override PartName="/ppt/tags/tag11.xml" ContentType="application/vnd.openxmlformats-officedocument.presentationml.tags+xml"/>
  <Override PartName="/ppt/notesSlides/notesSlide1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4" r:id="rId1"/>
    <p:sldMasterId id="2147483677" r:id="rId2"/>
  </p:sldMasterIdLst>
  <p:notesMasterIdLst>
    <p:notesMasterId r:id="rId35"/>
  </p:notesMasterIdLst>
  <p:handoutMasterIdLst>
    <p:handoutMasterId r:id="rId36"/>
  </p:handoutMasterIdLst>
  <p:sldIdLst>
    <p:sldId id="268" r:id="rId3"/>
    <p:sldId id="487" r:id="rId4"/>
    <p:sldId id="609" r:id="rId5"/>
    <p:sldId id="607" r:id="rId6"/>
    <p:sldId id="534" r:id="rId7"/>
    <p:sldId id="556" r:id="rId8"/>
    <p:sldId id="608" r:id="rId9"/>
    <p:sldId id="610" r:id="rId10"/>
    <p:sldId id="611" r:id="rId11"/>
    <p:sldId id="612" r:id="rId12"/>
    <p:sldId id="613" r:id="rId13"/>
    <p:sldId id="614" r:id="rId14"/>
    <p:sldId id="615" r:id="rId15"/>
    <p:sldId id="616" r:id="rId16"/>
    <p:sldId id="617" r:id="rId17"/>
    <p:sldId id="623" r:id="rId18"/>
    <p:sldId id="624" r:id="rId19"/>
    <p:sldId id="627" r:id="rId20"/>
    <p:sldId id="625" r:id="rId21"/>
    <p:sldId id="626" r:id="rId22"/>
    <p:sldId id="618" r:id="rId23"/>
    <p:sldId id="586" r:id="rId24"/>
    <p:sldId id="629" r:id="rId25"/>
    <p:sldId id="619" r:id="rId26"/>
    <p:sldId id="620" r:id="rId27"/>
    <p:sldId id="621" r:id="rId28"/>
    <p:sldId id="622" r:id="rId29"/>
    <p:sldId id="630" r:id="rId30"/>
    <p:sldId id="598" r:id="rId31"/>
    <p:sldId id="632" r:id="rId32"/>
    <p:sldId id="599" r:id="rId33"/>
    <p:sldId id="631" r:id="rId34"/>
  </p:sldIdLst>
  <p:sldSz cx="10668000" cy="7543800"/>
  <p:notesSz cx="6669088" cy="9775825"/>
  <p:defaultTextStyle>
    <a:defPPr>
      <a:defRPr lang="en-GB"/>
    </a:defPPr>
    <a:lvl1pPr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Arial" pitchFamily="34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E2001A"/>
    <a:srgbClr val="DDDDDD"/>
    <a:srgbClr val="F4EE00"/>
    <a:srgbClr val="CCFFCC"/>
    <a:srgbClr val="0066FF"/>
    <a:srgbClr val="EAEAE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654" autoAdjust="0"/>
    <p:restoredTop sz="87356" autoAdjust="0"/>
  </p:normalViewPr>
  <p:slideViewPr>
    <p:cSldViewPr snapToGrid="0" snapToObjects="1">
      <p:cViewPr>
        <p:scale>
          <a:sx n="80" d="100"/>
          <a:sy n="80" d="100"/>
        </p:scale>
        <p:origin x="-2214" y="-720"/>
      </p:cViewPr>
      <p:guideLst>
        <p:guide orient="horz"/>
        <p:guide orient="horz" pos="1056"/>
        <p:guide orient="horz" pos="2112"/>
        <p:guide orient="horz" pos="3168"/>
        <p:guide orient="horz" pos="4224"/>
        <p:guide orient="horz" pos="1584"/>
        <p:guide orient="horz" pos="2640"/>
        <p:guide orient="horz" pos="3696"/>
        <p:guide pos="336"/>
        <p:guide pos="3072"/>
        <p:guide pos="4896"/>
        <p:guide pos="1248"/>
        <p:guide pos="2160"/>
        <p:guide pos="3984"/>
        <p:guide pos="5808"/>
      </p:guideLst>
    </p:cSldViewPr>
  </p:slideViewPr>
  <p:outlineViewPr>
    <p:cViewPr>
      <p:scale>
        <a:sx n="33" d="100"/>
        <a:sy n="33" d="100"/>
      </p:scale>
      <p:origin x="0" y="0"/>
    </p:cViewPr>
    <p:sldLst>
      <p:sld r:id="rId1" collapse="1"/>
      <p:sld r:id="rId2" collapse="1"/>
    </p:sldLst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5" d="100"/>
        <a:sy n="25" d="100"/>
      </p:scale>
      <p:origin x="0" y="0"/>
    </p:cViewPr>
  </p:sorterViewPr>
  <p:notesViewPr>
    <p:cSldViewPr snapToGrid="0" snapToObjects="1">
      <p:cViewPr varScale="1">
        <p:scale>
          <a:sx n="47" d="100"/>
          <a:sy n="47" d="100"/>
        </p:scale>
        <p:origin x="-1860" y="-90"/>
      </p:cViewPr>
      <p:guideLst>
        <p:guide orient="horz" pos="3079"/>
        <p:guide pos="21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slide" Target="slides/slide24.xml"/><Relationship Id="rId39" Type="http://schemas.openxmlformats.org/officeDocument/2006/relationships/theme" Target="theme/theme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slide" Target="slides/slide27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presProps" Target="presProps.xml"/><Relationship Id="rId40" Type="http://schemas.openxmlformats.org/officeDocument/2006/relationships/tableStyles" Target="tableStyles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handoutMaster" Target="handoutMasters/handoutMaster1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slide" Target="slides/slide29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notesMaster" Target="notesMasters/notesMaster1.xml"/></Relationships>
</file>

<file path=ppt/_rels/viewProps.xml.rels><?xml version="1.0" encoding="UTF-8" standalone="yes"?>
<Relationships xmlns="http://schemas.openxmlformats.org/package/2006/relationships"><Relationship Id="rId2" Type="http://schemas.openxmlformats.org/officeDocument/2006/relationships/slide" Target="slides/slide6.xml"/><Relationship Id="rId1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bauer\Desktop\Microsoft%20Excel-Arbeitsblatt%20(neu).xlsx" TargetMode="Externa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bauer\Auslandsg\Pan%20Pacific\Australien\Australia\Presentations%20Sales%20Meeting%20ACO%20Australia\Vorlagen\Beispiel-Berechnungen.xlsx" TargetMode="Externa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C:\Users\cbauer\Auslandsg\Pan%20Pacific\Australien\Australia\Presentations%20Sales%20Meeting%20ACO%20Australia\Vorlagen\Beispiel-Berechnungen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col"/>
        <c:grouping val="clustered"/>
        <c:varyColors val="0"/>
        <c:ser>
          <c:idx val="0"/>
          <c:order val="0"/>
          <c:invertIfNegative val="0"/>
          <c:cat>
            <c:strRef>
              <c:f>'Kitchen Type'!$B$5:$B$9</c:f>
              <c:strCache>
                <c:ptCount val="5"/>
                <c:pt idx="0">
                  <c:v>Hotel</c:v>
                </c:pt>
                <c:pt idx="1">
                  <c:v>Speciality Restaurant</c:v>
                </c:pt>
                <c:pt idx="2">
                  <c:v>Work's kitchen/refectory</c:v>
                </c:pt>
                <c:pt idx="3">
                  <c:v>Hospital</c:v>
                </c:pt>
                <c:pt idx="4">
                  <c:v>All day large scale kitchen</c:v>
                </c:pt>
              </c:strCache>
            </c:strRef>
          </c:cat>
          <c:val>
            <c:numRef>
              <c:f>'Kitchen Type'!$C$5:$C$9</c:f>
              <c:numCache>
                <c:formatCode>0.0</c:formatCode>
                <c:ptCount val="5"/>
                <c:pt idx="0">
                  <c:v>3.4722222222222223</c:v>
                </c:pt>
                <c:pt idx="1">
                  <c:v>2.9513888888888888</c:v>
                </c:pt>
                <c:pt idx="2">
                  <c:v>0.69444444444444442</c:v>
                </c:pt>
                <c:pt idx="3">
                  <c:v>1.8055555555555556</c:v>
                </c:pt>
                <c:pt idx="4">
                  <c:v>1.5277777777777777</c:v>
                </c:pt>
              </c:numCache>
            </c:numRef>
          </c:val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105116800"/>
        <c:axId val="105118336"/>
      </c:barChart>
      <c:catAx>
        <c:axId val="105116800"/>
        <c:scaling>
          <c:orientation val="minMax"/>
        </c:scaling>
        <c:delete val="1"/>
        <c:axPos val="b"/>
        <c:majorTickMark val="out"/>
        <c:minorTickMark val="none"/>
        <c:tickLblPos val="nextTo"/>
        <c:crossAx val="105118336"/>
        <c:crosses val="autoZero"/>
        <c:auto val="1"/>
        <c:lblAlgn val="ctr"/>
        <c:lblOffset val="100"/>
        <c:noMultiLvlLbl val="0"/>
      </c:catAx>
      <c:valAx>
        <c:axId val="105118336"/>
        <c:scaling>
          <c:orientation val="minMax"/>
        </c:scaling>
        <c:delete val="0"/>
        <c:axPos val="l"/>
        <c:majorGridlines/>
        <c:numFmt formatCode="0.0" sourceLinked="1"/>
        <c:majorTickMark val="out"/>
        <c:minorTickMark val="none"/>
        <c:tickLblPos val="nextTo"/>
        <c:txPr>
          <a:bodyPr/>
          <a:lstStyle/>
          <a:p>
            <a:pPr>
              <a:defRPr sz="1800"/>
            </a:pPr>
            <a:endParaRPr lang="de-DE"/>
          </a:p>
        </c:txPr>
        <c:crossAx val="10511680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'Meals per day'!$C$3</c:f>
              <c:strCache>
                <c:ptCount val="1"/>
                <c:pt idx="0">
                  <c:v>Maximum wastewater inflow (l/s)</c:v>
                </c:pt>
              </c:strCache>
            </c:strRef>
          </c:tx>
          <c:spPr>
            <a:ln w="53975">
              <a:solidFill>
                <a:srgbClr val="FF0000"/>
              </a:solidFill>
            </a:ln>
          </c:spPr>
          <c:marker>
            <c:symbol val="none"/>
          </c:marker>
          <c:cat>
            <c:numRef>
              <c:f>'Meals per day'!$B$4:$B$11</c:f>
              <c:numCache>
                <c:formatCode>@</c:formatCode>
                <c:ptCount val="8"/>
                <c:pt idx="0">
                  <c:v>50</c:v>
                </c:pt>
                <c:pt idx="1">
                  <c:v>100</c:v>
                </c:pt>
                <c:pt idx="2">
                  <c:v>150</c:v>
                </c:pt>
                <c:pt idx="3">
                  <c:v>200</c:v>
                </c:pt>
                <c:pt idx="4">
                  <c:v>300</c:v>
                </c:pt>
                <c:pt idx="5">
                  <c:v>500</c:v>
                </c:pt>
                <c:pt idx="6">
                  <c:v>700</c:v>
                </c:pt>
                <c:pt idx="7">
                  <c:v>1000</c:v>
                </c:pt>
              </c:numCache>
            </c:numRef>
          </c:cat>
          <c:val>
            <c:numRef>
              <c:f>'Meals per day'!$C$4:$C$11</c:f>
              <c:numCache>
                <c:formatCode>0.00</c:formatCode>
                <c:ptCount val="8"/>
                <c:pt idx="0">
                  <c:v>0.86805555555555558</c:v>
                </c:pt>
                <c:pt idx="1">
                  <c:v>1.7361111111111112</c:v>
                </c:pt>
                <c:pt idx="2">
                  <c:v>2.6041666666666665</c:v>
                </c:pt>
                <c:pt idx="3">
                  <c:v>3.4722222222222223</c:v>
                </c:pt>
                <c:pt idx="4">
                  <c:v>5.208333333333333</c:v>
                </c:pt>
                <c:pt idx="5">
                  <c:v>8.6805555555555554</c:v>
                </c:pt>
                <c:pt idx="6">
                  <c:v>12.152777777777779</c:v>
                </c:pt>
                <c:pt idx="7">
                  <c:v>17.361111111111111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05178240"/>
        <c:axId val="105179776"/>
      </c:lineChart>
      <c:catAx>
        <c:axId val="105178240"/>
        <c:scaling>
          <c:orientation val="minMax"/>
        </c:scaling>
        <c:delete val="0"/>
        <c:axPos val="b"/>
        <c:numFmt formatCode="@" sourceLinked="1"/>
        <c:majorTickMark val="out"/>
        <c:minorTickMark val="none"/>
        <c:tickLblPos val="nextTo"/>
        <c:txPr>
          <a:bodyPr/>
          <a:lstStyle/>
          <a:p>
            <a:pPr>
              <a:defRPr sz="1800" b="1"/>
            </a:pPr>
            <a:endParaRPr lang="de-DE"/>
          </a:p>
        </c:txPr>
        <c:crossAx val="105179776"/>
        <c:crosses val="autoZero"/>
        <c:auto val="1"/>
        <c:lblAlgn val="ctr"/>
        <c:lblOffset val="100"/>
        <c:noMultiLvlLbl val="0"/>
      </c:catAx>
      <c:valAx>
        <c:axId val="105179776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400" b="1"/>
            </a:pPr>
            <a:endParaRPr lang="de-DE"/>
          </a:p>
        </c:txPr>
        <c:crossAx val="105178240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1"/>
          <c:order val="0"/>
          <c:tx>
            <c:strRef>
              <c:f>'Operating hours'!$C$3</c:f>
              <c:strCache>
                <c:ptCount val="1"/>
                <c:pt idx="0">
                  <c:v>Maximum wastewater inflow (l/s)</c:v>
                </c:pt>
              </c:strCache>
            </c:strRef>
          </c:tx>
          <c:spPr>
            <a:ln w="53975">
              <a:solidFill>
                <a:srgbClr val="FF0000"/>
              </a:solidFill>
            </a:ln>
          </c:spPr>
          <c:marker>
            <c:symbol val="none"/>
          </c:marker>
          <c:cat>
            <c:strRef>
              <c:f>'Operating hours'!$B$4:$B$27</c:f>
              <c:strCache>
                <c:ptCount val="24"/>
                <c:pt idx="0">
                  <c:v>1</c:v>
                </c:pt>
                <c:pt idx="1">
                  <c:v>2</c:v>
                </c:pt>
                <c:pt idx="2">
                  <c:v>3</c:v>
                </c:pt>
                <c:pt idx="3">
                  <c:v>4</c:v>
                </c:pt>
                <c:pt idx="4">
                  <c:v>5</c:v>
                </c:pt>
                <c:pt idx="5">
                  <c:v>6</c:v>
                </c:pt>
                <c:pt idx="6">
                  <c:v>7</c:v>
                </c:pt>
                <c:pt idx="7">
                  <c:v>8</c:v>
                </c:pt>
                <c:pt idx="8">
                  <c:v>9</c:v>
                </c:pt>
                <c:pt idx="9">
                  <c:v>10</c:v>
                </c:pt>
                <c:pt idx="10">
                  <c:v>11</c:v>
                </c:pt>
                <c:pt idx="11">
                  <c:v>12</c:v>
                </c:pt>
                <c:pt idx="12">
                  <c:v>13</c:v>
                </c:pt>
                <c:pt idx="13">
                  <c:v>14</c:v>
                </c:pt>
                <c:pt idx="14">
                  <c:v>15</c:v>
                </c:pt>
                <c:pt idx="15">
                  <c:v>16</c:v>
                </c:pt>
                <c:pt idx="16">
                  <c:v>17</c:v>
                </c:pt>
                <c:pt idx="17">
                  <c:v>18</c:v>
                </c:pt>
                <c:pt idx="18">
                  <c:v>19</c:v>
                </c:pt>
                <c:pt idx="19">
                  <c:v>20</c:v>
                </c:pt>
                <c:pt idx="20">
                  <c:v>21</c:v>
                </c:pt>
                <c:pt idx="21">
                  <c:v>22</c:v>
                </c:pt>
                <c:pt idx="22">
                  <c:v>23</c:v>
                </c:pt>
                <c:pt idx="23">
                  <c:v>24</c:v>
                </c:pt>
              </c:strCache>
            </c:strRef>
          </c:cat>
          <c:val>
            <c:numRef>
              <c:f>'Operating hours'!$C$4:$C$27</c:f>
              <c:numCache>
                <c:formatCode>0.00</c:formatCode>
                <c:ptCount val="24"/>
                <c:pt idx="0">
                  <c:v>27.777777777777779</c:v>
                </c:pt>
                <c:pt idx="1">
                  <c:v>13.888888888888889</c:v>
                </c:pt>
                <c:pt idx="2">
                  <c:v>9.2592592592592595</c:v>
                </c:pt>
                <c:pt idx="3">
                  <c:v>6.9444444444444446</c:v>
                </c:pt>
                <c:pt idx="4">
                  <c:v>5.5555555555555554</c:v>
                </c:pt>
                <c:pt idx="5">
                  <c:v>4.6296296296296298</c:v>
                </c:pt>
                <c:pt idx="6">
                  <c:v>3.9682539682539684</c:v>
                </c:pt>
                <c:pt idx="7">
                  <c:v>3.4722222222222223</c:v>
                </c:pt>
                <c:pt idx="8">
                  <c:v>3.0864197530864197</c:v>
                </c:pt>
                <c:pt idx="9">
                  <c:v>2.7777777777777777</c:v>
                </c:pt>
                <c:pt idx="10">
                  <c:v>2.5252525252525251</c:v>
                </c:pt>
                <c:pt idx="11">
                  <c:v>2.3148148148148149</c:v>
                </c:pt>
                <c:pt idx="12">
                  <c:v>2.1367521367521367</c:v>
                </c:pt>
                <c:pt idx="13">
                  <c:v>1.9841269841269842</c:v>
                </c:pt>
                <c:pt idx="14">
                  <c:v>1.8518518518518519</c:v>
                </c:pt>
                <c:pt idx="15">
                  <c:v>1.7361111111111112</c:v>
                </c:pt>
                <c:pt idx="16">
                  <c:v>1.6339869281045751</c:v>
                </c:pt>
                <c:pt idx="17">
                  <c:v>1.5432098765432098</c:v>
                </c:pt>
                <c:pt idx="18">
                  <c:v>1.4619883040935673</c:v>
                </c:pt>
                <c:pt idx="19">
                  <c:v>1.3888888888888888</c:v>
                </c:pt>
                <c:pt idx="20">
                  <c:v>1.3227513227513228</c:v>
                </c:pt>
                <c:pt idx="21">
                  <c:v>1.2626262626262625</c:v>
                </c:pt>
                <c:pt idx="22">
                  <c:v>1.2077294685990339</c:v>
                </c:pt>
                <c:pt idx="23">
                  <c:v>1.1574074074074074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17278592"/>
        <c:axId val="117280128"/>
      </c:lineChart>
      <c:catAx>
        <c:axId val="117278592"/>
        <c:scaling>
          <c:orientation val="minMax"/>
        </c:scaling>
        <c:delete val="0"/>
        <c:axPos val="b"/>
        <c:majorTickMark val="out"/>
        <c:minorTickMark val="none"/>
        <c:tickLblPos val="nextTo"/>
        <c:txPr>
          <a:bodyPr/>
          <a:lstStyle/>
          <a:p>
            <a:pPr>
              <a:defRPr sz="1500" b="1" baseline="0"/>
            </a:pPr>
            <a:endParaRPr lang="de-DE"/>
          </a:p>
        </c:txPr>
        <c:crossAx val="117280128"/>
        <c:crosses val="autoZero"/>
        <c:auto val="1"/>
        <c:lblAlgn val="ctr"/>
        <c:lblOffset val="100"/>
        <c:noMultiLvlLbl val="0"/>
      </c:catAx>
      <c:valAx>
        <c:axId val="117280128"/>
        <c:scaling>
          <c:orientation val="minMax"/>
        </c:scaling>
        <c:delete val="0"/>
        <c:axPos val="l"/>
        <c:majorGridlines/>
        <c:numFmt formatCode="0.00" sourceLinked="1"/>
        <c:majorTickMark val="out"/>
        <c:minorTickMark val="none"/>
        <c:tickLblPos val="nextTo"/>
        <c:txPr>
          <a:bodyPr/>
          <a:lstStyle/>
          <a:p>
            <a:pPr>
              <a:defRPr sz="1600" b="1"/>
            </a:pPr>
            <a:endParaRPr lang="de-DE"/>
          </a:p>
        </c:txPr>
        <c:crossAx val="117278592"/>
        <c:crosses val="autoZero"/>
        <c:crossBetween val="between"/>
      </c:valAx>
    </c:plotArea>
    <c:plotVisOnly val="1"/>
    <c:dispBlanksAs val="gap"/>
    <c:showDLblsOverMax val="0"/>
  </c:chart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t" anchorCtr="0" compatLnSpc="1">
            <a:prstTxWarp prst="textNoShape">
              <a:avLst/>
            </a:prstTxWarp>
          </a:bodyPr>
          <a:lstStyle>
            <a:lvl1pPr defTabSz="942975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6663" y="0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t" anchorCtr="0" compatLnSpc="1">
            <a:prstTxWarp prst="textNoShape">
              <a:avLst/>
            </a:prstTxWarp>
          </a:bodyPr>
          <a:lstStyle>
            <a:lvl1pPr algn="r" defTabSz="942975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9460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286875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b" anchorCtr="0" compatLnSpc="1">
            <a:prstTxWarp prst="textNoShape">
              <a:avLst/>
            </a:prstTxWarp>
          </a:bodyPr>
          <a:lstStyle>
            <a:lvl1pPr defTabSz="942975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9461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6663" y="9286875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b" anchorCtr="0" compatLnSpc="1">
            <a:prstTxWarp prst="textNoShape">
              <a:avLst/>
            </a:prstTxWarp>
          </a:bodyPr>
          <a:lstStyle>
            <a:lvl1pPr algn="r" defTabSz="942975">
              <a:defRPr>
                <a:latin typeface="Times New Roman" pitchFamily="18" charset="0"/>
              </a:defRPr>
            </a:lvl1pPr>
          </a:lstStyle>
          <a:p>
            <a:fld id="{0A427868-0934-43C0-BFFB-5AA4A534C1A9}" type="slidenum">
              <a:rPr lang="en-GB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8253331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t" anchorCtr="0" compatLnSpc="1">
            <a:prstTxWarp prst="textNoShape">
              <a:avLst/>
            </a:prstTxWarp>
          </a:bodyPr>
          <a:lstStyle>
            <a:lvl1pPr defTabSz="942975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6663" y="0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t" anchorCtr="0" compatLnSpc="1">
            <a:prstTxWarp prst="textNoShape">
              <a:avLst/>
            </a:prstTxWarp>
          </a:bodyPr>
          <a:lstStyle>
            <a:lvl1pPr algn="r" defTabSz="942975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0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42950" y="733425"/>
            <a:ext cx="5183188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24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89000" y="4641850"/>
            <a:ext cx="4891088" cy="4400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smtClean="0"/>
              <a:t>Klicken Sie, um die Formate des Vorlagentextes zu bearbeiten</a:t>
            </a:r>
          </a:p>
          <a:p>
            <a:pPr lvl="1"/>
            <a:r>
              <a:rPr lang="en-GB" smtClean="0"/>
              <a:t>Zweite Ebene</a:t>
            </a:r>
          </a:p>
          <a:p>
            <a:pPr lvl="2"/>
            <a:r>
              <a:rPr lang="en-GB" smtClean="0"/>
              <a:t>Dritte Ebene</a:t>
            </a:r>
          </a:p>
          <a:p>
            <a:pPr lvl="3"/>
            <a:r>
              <a:rPr lang="en-GB" smtClean="0"/>
              <a:t>Vierte Ebene</a:t>
            </a:r>
          </a:p>
          <a:p>
            <a:pPr lvl="4"/>
            <a:r>
              <a:rPr lang="en-GB" smtClean="0"/>
              <a:t>Fünfte Ebene</a:t>
            </a:r>
          </a:p>
        </p:txBody>
      </p:sp>
      <p:sp>
        <p:nvSpPr>
          <p:cNvPr id="1024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286875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b" anchorCtr="0" compatLnSpc="1">
            <a:prstTxWarp prst="textNoShape">
              <a:avLst/>
            </a:prstTxWarp>
          </a:bodyPr>
          <a:lstStyle>
            <a:lvl1pPr defTabSz="942975">
              <a:defRPr>
                <a:latin typeface="Times New Roman" pitchFamily="18" charset="0"/>
              </a:defRPr>
            </a:lvl1pPr>
          </a:lstStyle>
          <a:p>
            <a:endParaRPr lang="en-GB"/>
          </a:p>
        </p:txBody>
      </p:sp>
      <p:sp>
        <p:nvSpPr>
          <p:cNvPr id="1024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6663" y="9286875"/>
            <a:ext cx="2892425" cy="488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4205" tIns="47102" rIns="94205" bIns="47102" numCol="1" anchor="b" anchorCtr="0" compatLnSpc="1">
            <a:prstTxWarp prst="textNoShape">
              <a:avLst/>
            </a:prstTxWarp>
          </a:bodyPr>
          <a:lstStyle>
            <a:lvl1pPr algn="r" defTabSz="942975">
              <a:defRPr>
                <a:latin typeface="Times New Roman" pitchFamily="18" charset="0"/>
              </a:defRPr>
            </a:lvl1pPr>
          </a:lstStyle>
          <a:p>
            <a:fld id="{1BF961E9-E27B-4163-A59E-6CB93D3AC6D7}" type="slidenum">
              <a:rPr lang="en-GB"/>
              <a:pPr/>
              <a:t>‹Nr.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332767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46086D5-4D00-47C1-BC14-31E689E53AC9}" type="slidenum">
              <a:rPr lang="en-GB"/>
              <a:pPr/>
              <a:t>1</a:t>
            </a:fld>
            <a:endParaRPr lang="en-GB"/>
          </a:p>
        </p:txBody>
      </p:sp>
      <p:sp>
        <p:nvSpPr>
          <p:cNvPr id="17613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44538" y="731838"/>
            <a:ext cx="5183187" cy="3665537"/>
          </a:xfrm>
          <a:ln/>
        </p:spPr>
      </p:sp>
      <p:sp>
        <p:nvSpPr>
          <p:cNvPr id="17613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890588" y="4641850"/>
            <a:ext cx="4887912" cy="4402138"/>
          </a:xfrm>
        </p:spPr>
        <p:txBody>
          <a:bodyPr lIns="86956" tIns="43480" rIns="86956" bIns="43480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12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13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14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15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778423" y="9291177"/>
            <a:ext cx="2890665" cy="48464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905" tIns="46452" rIns="92905" bIns="46452" anchor="b"/>
          <a:lstStyle/>
          <a:p>
            <a:pPr algn="r" defTabSz="929134">
              <a:defRPr/>
            </a:pPr>
            <a:fld id="{1CE853CD-B8DA-4A7B-B4CB-88AC69CB4D64}" type="slidenum">
              <a:rPr lang="en-GB" sz="1100">
                <a:latin typeface="Times New Roman" pitchFamily="18" charset="0"/>
              </a:rPr>
              <a:pPr algn="r" defTabSz="929134">
                <a:defRPr/>
              </a:pPr>
              <a:t>16</a:t>
            </a:fld>
            <a:endParaRPr lang="en-GB" sz="1100">
              <a:latin typeface="Times New Roman" pitchFamily="18" charset="0"/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00175" y="525463"/>
            <a:ext cx="7269163" cy="5141912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7328" y="5981497"/>
            <a:ext cx="3393727" cy="566569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778423" y="9291177"/>
            <a:ext cx="2890665" cy="48464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905" tIns="46452" rIns="92905" bIns="46452" anchor="b"/>
          <a:lstStyle/>
          <a:p>
            <a:pPr algn="r" defTabSz="929134">
              <a:defRPr/>
            </a:pPr>
            <a:fld id="{1CE853CD-B8DA-4A7B-B4CB-88AC69CB4D64}" type="slidenum">
              <a:rPr lang="en-GB" sz="1100">
                <a:latin typeface="Times New Roman" pitchFamily="18" charset="0"/>
              </a:rPr>
              <a:pPr algn="r" defTabSz="929134">
                <a:defRPr/>
              </a:pPr>
              <a:t>24</a:t>
            </a:fld>
            <a:endParaRPr lang="en-GB" sz="1100">
              <a:latin typeface="Times New Roman" pitchFamily="18" charset="0"/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00175" y="525463"/>
            <a:ext cx="7269163" cy="5141912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7328" y="5981497"/>
            <a:ext cx="3393727" cy="566569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25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778423" y="9291177"/>
            <a:ext cx="2890665" cy="48464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905" tIns="46452" rIns="92905" bIns="46452" anchor="b"/>
          <a:lstStyle/>
          <a:p>
            <a:pPr algn="r" defTabSz="929134">
              <a:defRPr/>
            </a:pPr>
            <a:fld id="{1CE853CD-B8DA-4A7B-B4CB-88AC69CB4D64}" type="slidenum">
              <a:rPr lang="en-GB" sz="1100">
                <a:latin typeface="Times New Roman" pitchFamily="18" charset="0"/>
              </a:rPr>
              <a:pPr algn="r" defTabSz="929134">
                <a:defRPr/>
              </a:pPr>
              <a:t>28</a:t>
            </a:fld>
            <a:endParaRPr lang="en-GB" sz="1100">
              <a:latin typeface="Times New Roman" pitchFamily="18" charset="0"/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00175" y="525463"/>
            <a:ext cx="7269163" cy="5141912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7328" y="5981497"/>
            <a:ext cx="3393727" cy="566569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778423" y="9291177"/>
            <a:ext cx="2890665" cy="48464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905" tIns="46452" rIns="92905" bIns="46452" anchor="b"/>
          <a:lstStyle/>
          <a:p>
            <a:pPr algn="r" defTabSz="929134">
              <a:defRPr/>
            </a:pPr>
            <a:fld id="{1CE853CD-B8DA-4A7B-B4CB-88AC69CB4D64}" type="slidenum">
              <a:rPr lang="en-GB" sz="1100">
                <a:latin typeface="Times New Roman" pitchFamily="18" charset="0"/>
              </a:rPr>
              <a:pPr algn="r" defTabSz="929134">
                <a:defRPr/>
              </a:pPr>
              <a:t>32</a:t>
            </a:fld>
            <a:endParaRPr lang="en-GB" sz="1100">
              <a:latin typeface="Times New Roman" pitchFamily="18" charset="0"/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00175" y="525463"/>
            <a:ext cx="7269163" cy="5141912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7328" y="5981497"/>
            <a:ext cx="3393727" cy="566569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852686-E20F-44F1-8AE4-245C0D006B15}" type="slidenum">
              <a:rPr lang="en-GB"/>
              <a:pPr/>
              <a:t>4</a:t>
            </a:fld>
            <a:endParaRPr lang="en-GB"/>
          </a:p>
        </p:txBody>
      </p:sp>
      <p:sp>
        <p:nvSpPr>
          <p:cNvPr id="1483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83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5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99" tIns="45251" rIns="90499" bIns="45251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6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99" tIns="45251" rIns="90499" bIns="45251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37852686-E20F-44F1-8AE4-245C0D006B15}" type="slidenum">
              <a:rPr lang="en-GB"/>
              <a:pPr/>
              <a:t>7</a:t>
            </a:fld>
            <a:endParaRPr lang="en-GB"/>
          </a:p>
        </p:txBody>
      </p:sp>
      <p:sp>
        <p:nvSpPr>
          <p:cNvPr id="1483778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483779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/>
          <a:lstStyle/>
          <a:p>
            <a:endParaRPr lang="de-DE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 txBox="1">
            <a:spLocks noGrp="1" noChangeArrowheads="1"/>
          </p:cNvSpPr>
          <p:nvPr/>
        </p:nvSpPr>
        <p:spPr bwMode="auto">
          <a:xfrm>
            <a:off x="3778423" y="9291177"/>
            <a:ext cx="2890665" cy="484648"/>
          </a:xfrm>
          <a:prstGeom prst="rect">
            <a:avLst/>
          </a:prstGeom>
          <a:noFill/>
          <a:ln>
            <a:miter lim="800000"/>
            <a:headEnd/>
            <a:tailEnd/>
          </a:ln>
        </p:spPr>
        <p:txBody>
          <a:bodyPr lIns="92905" tIns="46452" rIns="92905" bIns="46452" anchor="b"/>
          <a:lstStyle/>
          <a:p>
            <a:pPr algn="r" defTabSz="929134">
              <a:defRPr/>
            </a:pPr>
            <a:fld id="{1CE853CD-B8DA-4A7B-B4CB-88AC69CB4D64}" type="slidenum">
              <a:rPr lang="en-GB" sz="1100">
                <a:latin typeface="Times New Roman" pitchFamily="18" charset="0"/>
              </a:rPr>
              <a:pPr algn="r" defTabSz="929134">
                <a:defRPr/>
              </a:pPr>
              <a:t>8</a:t>
            </a:fld>
            <a:endParaRPr lang="en-GB" sz="1100">
              <a:latin typeface="Times New Roman" pitchFamily="18" charset="0"/>
            </a:endParaRPr>
          </a:p>
        </p:txBody>
      </p:sp>
      <p:sp>
        <p:nvSpPr>
          <p:cNvPr id="6758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-1400175" y="525463"/>
            <a:ext cx="7269163" cy="5141912"/>
          </a:xfrm>
          <a:ln/>
        </p:spPr>
      </p:sp>
      <p:sp>
        <p:nvSpPr>
          <p:cNvPr id="67588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537328" y="5981497"/>
            <a:ext cx="3393727" cy="566569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endParaRPr lang="de-DE" smtClean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9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10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D84E9994-94A1-45F7-95C1-E5F8BC221D95}" type="slidenum">
              <a:rPr lang="en-GB"/>
              <a:pPr/>
              <a:t>11</a:t>
            </a:fld>
            <a:endParaRPr lang="en-GB"/>
          </a:p>
        </p:txBody>
      </p:sp>
      <p:sp>
        <p:nvSpPr>
          <p:cNvPr id="1572866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72867" name="Rectangle 3"/>
          <p:cNvSpPr>
            <a:spLocks noGrp="1" noChangeArrowheads="1"/>
          </p:cNvSpPr>
          <p:nvPr>
            <p:ph type="body" idx="1"/>
          </p:nvPr>
        </p:nvSpPr>
        <p:spPr/>
        <p:txBody>
          <a:bodyPr lIns="90475" tIns="45239" rIns="90475" bIns="45239"/>
          <a:lstStyle/>
          <a:p>
            <a:endParaRPr lang="de-DE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2.wmf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Start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cs-CZ"/>
          </a:p>
        </p:txBody>
      </p:sp>
      <p:pic>
        <p:nvPicPr>
          <p:cNvPr id="5" name="Picture 3" descr="Kopf_Startfolie dunkler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2633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" name="Picture 4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87438" y="752475"/>
            <a:ext cx="1357312" cy="1042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65221" name="Rectangle 5"/>
          <p:cNvSpPr>
            <a:spLocks noGrp="1" noChangeArrowheads="1"/>
          </p:cNvSpPr>
          <p:nvPr>
            <p:ph type="ctrTitle"/>
          </p:nvPr>
        </p:nvSpPr>
        <p:spPr>
          <a:xfrm>
            <a:off x="3890963" y="685800"/>
            <a:ext cx="6472237" cy="1162050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masterformat durch Klicken bearbeiten</a:t>
            </a:r>
          </a:p>
        </p:txBody>
      </p:sp>
      <p:sp>
        <p:nvSpPr>
          <p:cNvPr id="265222" name="Rectangle 6"/>
          <p:cNvSpPr>
            <a:spLocks noGrp="1" noChangeArrowheads="1"/>
          </p:cNvSpPr>
          <p:nvPr>
            <p:ph type="subTitle" idx="1"/>
          </p:nvPr>
        </p:nvSpPr>
        <p:spPr>
          <a:xfrm>
            <a:off x="3889375" y="5213350"/>
            <a:ext cx="5797550" cy="11731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Formatvorlage des Untertitelmaster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6127502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1"/>
          <p:cNvSpPr>
            <a:spLocks noGrp="1"/>
          </p:cNvSpPr>
          <p:nvPr>
            <p:ph type="title"/>
          </p:nvPr>
        </p:nvSpPr>
        <p:spPr>
          <a:xfrm>
            <a:off x="3873500" y="228600"/>
            <a:ext cx="6513513" cy="704850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0853639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1330602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oter Hintergrund">
    <p:bg>
      <p:bgPr>
        <a:solidFill>
          <a:srgbClr val="E2001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>
          <a:xfrm>
            <a:off x="800100" y="2963069"/>
            <a:ext cx="9067800" cy="1617663"/>
          </a:xfrm>
        </p:spPr>
        <p:txBody>
          <a:bodyPr>
            <a:normAutofit/>
          </a:bodyPr>
          <a:lstStyle>
            <a:lvl1pPr>
              <a:defRPr sz="4000" b="1">
                <a:solidFill>
                  <a:schemeClr val="bg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DE" dirty="0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548141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17766192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bschnitts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42963" y="4848225"/>
            <a:ext cx="9067800" cy="1497013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cs-CZ" dirty="0" smtClean="0"/>
              <a:t>Klepnutím lze upravit styl předlohy nadpisů.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3157318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2457450" y="2332038"/>
            <a:ext cx="3511550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21400" y="2332038"/>
            <a:ext cx="3513138" cy="42973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13057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533400" y="1689100"/>
            <a:ext cx="4713288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533400" y="2392363"/>
            <a:ext cx="4713288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5419725" y="1689100"/>
            <a:ext cx="4714875" cy="7032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5419725" y="2392363"/>
            <a:ext cx="4714875" cy="4346575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Nadpis 1"/>
          <p:cNvSpPr>
            <a:spLocks noGrp="1"/>
          </p:cNvSpPr>
          <p:nvPr>
            <p:ph type="title"/>
          </p:nvPr>
        </p:nvSpPr>
        <p:spPr>
          <a:xfrm>
            <a:off x="3873500" y="228600"/>
            <a:ext cx="6513513" cy="704850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37542023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ext vertik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Klepnutím lze upravit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2372676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quarter" idx="1"/>
          </p:nvPr>
        </p:nvSpPr>
        <p:spPr>
          <a:xfrm>
            <a:off x="1981200" y="21336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229100" y="21336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1981200" y="44958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Inhaltsplatzhalter 5"/>
          <p:cNvSpPr>
            <a:spLocks noGrp="1"/>
          </p:cNvSpPr>
          <p:nvPr>
            <p:ph sz="quarter" idx="4"/>
          </p:nvPr>
        </p:nvSpPr>
        <p:spPr>
          <a:xfrm>
            <a:off x="4229100" y="44958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7" name="Nadpis 1"/>
          <p:cNvSpPr>
            <a:spLocks noGrp="1"/>
          </p:cNvSpPr>
          <p:nvPr>
            <p:ph type="title"/>
          </p:nvPr>
        </p:nvSpPr>
        <p:spPr>
          <a:xfrm>
            <a:off x="3873500" y="228600"/>
            <a:ext cx="6513513" cy="704850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27743639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ab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abellenplatzhalter 2"/>
          <p:cNvSpPr>
            <a:spLocks noGrp="1"/>
          </p:cNvSpPr>
          <p:nvPr>
            <p:ph type="tbl" idx="1"/>
          </p:nvPr>
        </p:nvSpPr>
        <p:spPr>
          <a:xfrm>
            <a:off x="1981200" y="2133600"/>
            <a:ext cx="4343400" cy="4572000"/>
          </a:xfrm>
        </p:spPr>
        <p:txBody>
          <a:bodyPr/>
          <a:lstStyle/>
          <a:p>
            <a:endParaRPr lang="de-DE"/>
          </a:p>
        </p:txBody>
      </p:sp>
      <p:sp>
        <p:nvSpPr>
          <p:cNvPr id="4" name="Nadpis 1"/>
          <p:cNvSpPr>
            <a:spLocks noGrp="1"/>
          </p:cNvSpPr>
          <p:nvPr>
            <p:ph type="title"/>
          </p:nvPr>
        </p:nvSpPr>
        <p:spPr>
          <a:xfrm>
            <a:off x="3873500" y="228600"/>
            <a:ext cx="6513513" cy="704850"/>
          </a:xfrm>
        </p:spPr>
        <p:txBody>
          <a:bodyPr/>
          <a:lstStyle/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4215082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Inhalt und 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/>
          <p:cNvSpPr>
            <a:spLocks noGrp="1"/>
          </p:cNvSpPr>
          <p:nvPr>
            <p:ph sz="half" idx="1"/>
          </p:nvPr>
        </p:nvSpPr>
        <p:spPr>
          <a:xfrm>
            <a:off x="1981200" y="2133600"/>
            <a:ext cx="2095500" cy="45720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Inhaltsplatzhalter 3"/>
          <p:cNvSpPr>
            <a:spLocks noGrp="1"/>
          </p:cNvSpPr>
          <p:nvPr>
            <p:ph sz="quarter" idx="2"/>
          </p:nvPr>
        </p:nvSpPr>
        <p:spPr>
          <a:xfrm>
            <a:off x="4229100" y="21336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5" name="Inhaltsplatzhalter 4"/>
          <p:cNvSpPr>
            <a:spLocks noGrp="1"/>
          </p:cNvSpPr>
          <p:nvPr>
            <p:ph sz="quarter" idx="3"/>
          </p:nvPr>
        </p:nvSpPr>
        <p:spPr>
          <a:xfrm>
            <a:off x="4229100" y="4495800"/>
            <a:ext cx="2095500" cy="2209800"/>
          </a:xfrm>
        </p:spPr>
        <p:txBody>
          <a:bodyPr/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6" name="Nadpis 1"/>
          <p:cNvSpPr txBox="1">
            <a:spLocks/>
          </p:cNvSpPr>
          <p:nvPr userDrawn="1"/>
        </p:nvSpPr>
        <p:spPr bwMode="auto">
          <a:xfrm>
            <a:off x="3873500" y="228600"/>
            <a:ext cx="651351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cs-CZ" smtClean="0"/>
              <a:t>Klepnutím lze upravit styl předlohy nadpisů.</a:t>
            </a:r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11645137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jpe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19"/>
          <p:cNvSpPr>
            <a:spLocks noGrp="1" noChangeArrowheads="1"/>
          </p:cNvSpPr>
          <p:nvPr>
            <p:ph type="body" idx="1"/>
          </p:nvPr>
        </p:nvSpPr>
        <p:spPr bwMode="auto">
          <a:xfrm>
            <a:off x="2457450" y="2332038"/>
            <a:ext cx="7177088" cy="4297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extmasterformate durch Klicken bearbeiten</a:t>
            </a:r>
          </a:p>
          <a:p>
            <a:pPr lvl="1"/>
            <a:r>
              <a:rPr lang="de-DE" smtClean="0"/>
              <a:t>Erste Ebene</a:t>
            </a:r>
          </a:p>
          <a:p>
            <a:pPr lvl="2"/>
            <a:r>
              <a:rPr lang="de-DE" smtClean="0"/>
              <a:t>Zweite Ebene</a:t>
            </a:r>
          </a:p>
          <a:p>
            <a:pPr lvl="3"/>
            <a:r>
              <a:rPr lang="de-DE" smtClean="0"/>
              <a:t>Dritte Ebene</a:t>
            </a:r>
          </a:p>
          <a:p>
            <a:pPr lvl="4"/>
            <a:r>
              <a:rPr lang="de-DE" smtClean="0"/>
              <a:t>Vierte Ebene</a:t>
            </a:r>
          </a:p>
        </p:txBody>
      </p:sp>
      <p:pic>
        <p:nvPicPr>
          <p:cNvPr id="1027" name="Picture 2" descr="Neuer Kopf dunkelgrau"/>
          <p:cNvPicPr>
            <a:picLocks noChangeAspect="1" noChangeArrowheads="1"/>
          </p:cNvPicPr>
          <p:nvPr>
            <p:custDataLst>
              <p:tags r:id="rId13"/>
            </p:custDataLst>
          </p:nvPr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0668000" cy="1279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3"/>
          <p:cNvPicPr>
            <a:picLocks noChangeAspect="1" noChangeArrowheads="1"/>
          </p:cNvPicPr>
          <p:nvPr>
            <p:custDataLst>
              <p:tags r:id="rId14"/>
            </p:custDataLst>
          </p:nvPr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5613" y="327025"/>
            <a:ext cx="719137" cy="552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29" name="Rectangle 4"/>
          <p:cNvSpPr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2449513" y="1008063"/>
            <a:ext cx="8220075" cy="269875"/>
          </a:xfrm>
          <a:prstGeom prst="rect">
            <a:avLst/>
          </a:prstGeom>
          <a:solidFill>
            <a:schemeClr val="accent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cs-CZ"/>
          </a:p>
        </p:txBody>
      </p:sp>
      <p:sp>
        <p:nvSpPr>
          <p:cNvPr id="1030" name="Rectangle 5"/>
          <p:cNvSpPr>
            <a:spLocks noChangeArrowheads="1"/>
          </p:cNvSpPr>
          <p:nvPr/>
        </p:nvSpPr>
        <p:spPr bwMode="auto">
          <a:xfrm>
            <a:off x="4537075" y="428625"/>
            <a:ext cx="6118225" cy="831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cs-CZ"/>
          </a:p>
        </p:txBody>
      </p:sp>
      <p:sp>
        <p:nvSpPr>
          <p:cNvPr id="1031" name="Rectangle 6"/>
          <p:cNvSpPr>
            <a:spLocks noGrp="1" noChangeArrowheads="1"/>
          </p:cNvSpPr>
          <p:nvPr>
            <p:ph type="title"/>
          </p:nvPr>
        </p:nvSpPr>
        <p:spPr bwMode="auto">
          <a:xfrm>
            <a:off x="3873500" y="228600"/>
            <a:ext cx="6513513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DE" smtClean="0"/>
              <a:t>Titelformat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43924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5" r:id="rId1"/>
    <p:sldLayoutId id="2147483666" r:id="rId2"/>
    <p:sldLayoutId id="2147483667" r:id="rId3"/>
    <p:sldLayoutId id="2147483668" r:id="rId4"/>
    <p:sldLayoutId id="2147483669" r:id="rId5"/>
    <p:sldLayoutId id="2147483672" r:id="rId6"/>
    <p:sldLayoutId id="2147483673" r:id="rId7"/>
    <p:sldLayoutId id="2147483674" r:id="rId8"/>
    <p:sldLayoutId id="2147483675" r:id="rId9"/>
    <p:sldLayoutId id="2147483676" r:id="rId10"/>
    <p:sldLayoutId id="2147483681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rgbClr val="DF0029"/>
        </a:buClr>
        <a:buFont typeface="Wingdings" pitchFamily="2" charset="2"/>
        <a:defRPr sz="1500">
          <a:solidFill>
            <a:schemeClr val="tx1"/>
          </a:solidFill>
          <a:latin typeface="+mn-lt"/>
          <a:ea typeface="+mn-ea"/>
          <a:cs typeface="+mn-cs"/>
        </a:defRPr>
      </a:lvl1pPr>
      <a:lvl2pPr marL="179388" indent="-1778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Font typeface="Wingdings" pitchFamily="2" charset="2"/>
        <a:buChar char="§"/>
        <a:defRPr sz="1500">
          <a:solidFill>
            <a:schemeClr val="tx1"/>
          </a:solidFill>
          <a:latin typeface="+mn-lt"/>
        </a:defRPr>
      </a:lvl2pPr>
      <a:lvl3pPr marL="536575" indent="-177800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SzPct val="85000"/>
        <a:buFont typeface="Verdana" pitchFamily="34" charset="0"/>
        <a:buChar char="□"/>
        <a:defRPr sz="1500">
          <a:solidFill>
            <a:schemeClr val="tx1"/>
          </a:solidFill>
          <a:latin typeface="+mn-lt"/>
        </a:defRPr>
      </a:lvl3pPr>
      <a:lvl4pPr marL="896938" indent="-180975" algn="l" rtl="0" eaLnBrk="0" fontAlgn="base" hangingPunct="0">
        <a:lnSpc>
          <a:spcPct val="110000"/>
        </a:lnSpc>
        <a:spcBef>
          <a:spcPct val="20000"/>
        </a:spcBef>
        <a:spcAft>
          <a:spcPct val="0"/>
        </a:spcAft>
        <a:buClr>
          <a:schemeClr val="accent1"/>
        </a:buClr>
        <a:buChar char="-"/>
        <a:defRPr sz="1500">
          <a:solidFill>
            <a:schemeClr val="tx1"/>
          </a:solidFill>
          <a:latin typeface="+mn-lt"/>
        </a:defRPr>
      </a:lvl4pPr>
      <a:lvl5pPr marL="1255713" indent="-179388" algn="l" rtl="0" eaLnBrk="0" fontAlgn="base" hangingPunct="0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5pPr>
      <a:lvl6pPr marL="17129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6pPr>
      <a:lvl7pPr marL="21701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7pPr>
      <a:lvl8pPr marL="26273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8pPr>
      <a:lvl9pPr marL="3084513" indent="-179388" algn="l" rtl="0" fontAlgn="base">
        <a:lnSpc>
          <a:spcPts val="2000"/>
        </a:lnSpc>
        <a:spcBef>
          <a:spcPct val="20000"/>
        </a:spcBef>
        <a:spcAft>
          <a:spcPct val="0"/>
        </a:spcAft>
        <a:buChar char="»"/>
        <a:defRPr sz="1500">
          <a:solidFill>
            <a:schemeClr val="tx1"/>
          </a:solidFill>
          <a:latin typeface="+mn-lt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533400" y="301625"/>
            <a:ext cx="9601200" cy="12573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smtClean="0"/>
              <a:t>Titelmasterformat durch Klicken bearbeiten</a:t>
            </a:r>
            <a:endParaRPr lang="de-DE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533400" y="1760538"/>
            <a:ext cx="9601200" cy="49784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33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83772F-5D71-44AB-940B-7C084A11E051}" type="datetimeFigureOut">
              <a:rPr lang="de-DE" smtClean="0"/>
              <a:t>21.09.2016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3644900" y="6991350"/>
            <a:ext cx="3378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7645400" y="6991350"/>
            <a:ext cx="2489200" cy="40163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9AFF51-553E-469F-9B76-96EAD0F8113C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8717238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7.jpe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1.jpeg"/><Relationship Id="rId5" Type="http://schemas.openxmlformats.org/officeDocument/2006/relationships/image" Target="../media/image10.jpeg"/><Relationship Id="rId4" Type="http://schemas.openxmlformats.org/officeDocument/2006/relationships/hyperlink" Target="https://encrypted.google.com/url?sa=i&amp;rct=j&amp;q=Marriots%20Hotel&amp;source=images&amp;cd=&amp;cad=rja&amp;uact=8&amp;docid=W5SVYRg_9Csj4M&amp;tbnid=KDhYRUv2ODUCvM:&amp;ved=&amp;url=http://www.turizmtatilseyahat.com/en/coatesville-may-get-marriott-hotel.htm&amp;ei=zmFGU_LcMo7XsgbAxoDICg&amp;bvm=bv.64507335,d.Yms&amp;psig=AFQjCNFztKHnKB33E8OugGAaafHCCGmqzA&amp;ust=1397207887472293" TargetMode="External"/><Relationship Id="rId9" Type="http://schemas.openxmlformats.org/officeDocument/2006/relationships/image" Target="../media/image14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5.jpe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6.pn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2.xml"/><Relationship Id="rId4" Type="http://schemas.openxmlformats.org/officeDocument/2006/relationships/chart" Target="../charts/char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image" Target="../media/image17.jpeg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9.jpe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jpeg"/><Relationship Id="rId1" Type="http://schemas.openxmlformats.org/officeDocument/2006/relationships/slideLayout" Target="../slideLayouts/slideLayout11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wmf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23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jpeg"/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9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jpeg"/><Relationship Id="rId3" Type="http://schemas.openxmlformats.org/officeDocument/2006/relationships/image" Target="../media/image26.jpeg"/><Relationship Id="rId7" Type="http://schemas.openxmlformats.org/officeDocument/2006/relationships/image" Target="../media/image30.jpeg"/><Relationship Id="rId2" Type="http://schemas.openxmlformats.org/officeDocument/2006/relationships/hyperlink" Target="https://encrypted.google.com/url?sa=i&amp;rct=j&amp;q=tilting%20roaster&amp;source=images&amp;cd=&amp;docid=dTKOlOZ4nJuARM&amp;tbnid=xzl8BsMh8bSIqM:&amp;ved=0CAUQjRw&amp;url=http://charliesmachine.com/?p%3D265&amp;ei=J6ZGU7P5LYvGtAaThYC4BA&amp;bvm=bv.64507335,d.ZWU&amp;psig=AFQjCNHipw0Bt2XysKIm7AafDCWrMARDpw&amp;ust=1397225179951904" TargetMode="External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9.jpeg"/><Relationship Id="rId5" Type="http://schemas.openxmlformats.org/officeDocument/2006/relationships/image" Target="../media/image28.jpeg"/><Relationship Id="rId4" Type="http://schemas.openxmlformats.org/officeDocument/2006/relationships/image" Target="../media/image27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32.png"/><Relationship Id="rId5" Type="http://schemas.openxmlformats.org/officeDocument/2006/relationships/image" Target="../media/image30.jpeg"/><Relationship Id="rId4" Type="http://schemas.openxmlformats.org/officeDocument/2006/relationships/image" Target="../media/image31.pn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0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8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gif"/><Relationship Id="rId1" Type="http://schemas.openxmlformats.org/officeDocument/2006/relationships/slideLayout" Target="../slideLayouts/slideLayout8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1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8.jpeg"/><Relationship Id="rId4" Type="http://schemas.openxmlformats.org/officeDocument/2006/relationships/image" Target="../media/image7.jpe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1.xml"/><Relationship Id="rId1" Type="http://schemas.openxmlformats.org/officeDocument/2006/relationships/tags" Target="../tags/tag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36"/>
          <p:cNvSpPr>
            <a:spLocks noChangeArrowheads="1"/>
          </p:cNvSpPr>
          <p:nvPr/>
        </p:nvSpPr>
        <p:spPr bwMode="auto">
          <a:xfrm>
            <a:off x="3889388" y="5447963"/>
            <a:ext cx="3952875" cy="15017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/>
          <a:lstStyle/>
          <a:p>
            <a:r>
              <a:rPr lang="de-DE" sz="2000" dirty="0">
                <a:solidFill>
                  <a:schemeClr val="bg1"/>
                </a:solidFill>
                <a:latin typeface="Arial Black" pitchFamily="34" charset="0"/>
              </a:rPr>
              <a:t>ACO Haustechnik</a:t>
            </a:r>
            <a:br>
              <a:rPr lang="de-DE" sz="2000" dirty="0">
                <a:solidFill>
                  <a:schemeClr val="bg1"/>
                </a:solidFill>
                <a:latin typeface="Arial Black" pitchFamily="34" charset="0"/>
              </a:rPr>
            </a:br>
            <a:r>
              <a:rPr lang="de-DE" sz="1800" dirty="0" err="1" smtClean="0">
                <a:solidFill>
                  <a:schemeClr val="bg1"/>
                </a:solidFill>
              </a:rPr>
              <a:t>Grease</a:t>
            </a:r>
            <a:r>
              <a:rPr lang="de-DE" sz="1800" dirty="0" smtClean="0">
                <a:solidFill>
                  <a:schemeClr val="bg1"/>
                </a:solidFill>
              </a:rPr>
              <a:t> </a:t>
            </a:r>
            <a:r>
              <a:rPr lang="de-DE" sz="1800" dirty="0" err="1" smtClean="0">
                <a:solidFill>
                  <a:schemeClr val="bg1"/>
                </a:solidFill>
              </a:rPr>
              <a:t>separators</a:t>
            </a:r>
            <a:r>
              <a:rPr lang="de-DE" sz="1800" dirty="0" smtClean="0">
                <a:solidFill>
                  <a:schemeClr val="bg1"/>
                </a:solidFill>
              </a:rPr>
              <a:t> - </a:t>
            </a:r>
            <a:r>
              <a:rPr lang="de-DE" sz="1800" dirty="0" err="1" smtClean="0">
                <a:solidFill>
                  <a:schemeClr val="bg1"/>
                </a:solidFill>
              </a:rPr>
              <a:t>planning</a:t>
            </a:r>
            <a:r>
              <a:rPr lang="de-DE" sz="1800" dirty="0">
                <a:solidFill>
                  <a:schemeClr val="bg1"/>
                </a:solidFill>
              </a:rPr>
              <a:t/>
            </a:r>
            <a:br>
              <a:rPr lang="de-DE" sz="1800" dirty="0">
                <a:solidFill>
                  <a:schemeClr val="bg1"/>
                </a:solidFill>
              </a:rPr>
            </a:br>
            <a:r>
              <a:rPr lang="de-DE" sz="1400" i="1" dirty="0">
                <a:solidFill>
                  <a:schemeClr val="bg1"/>
                </a:solidFill>
                <a:latin typeface="Times New Roman" pitchFamily="18" charset="0"/>
              </a:rPr>
              <a:t/>
            </a:r>
            <a:br>
              <a:rPr lang="de-DE" sz="1400" i="1" dirty="0">
                <a:solidFill>
                  <a:schemeClr val="bg1"/>
                </a:solidFill>
                <a:latin typeface="Times New Roman" pitchFamily="18" charset="0"/>
              </a:rPr>
            </a:br>
            <a:r>
              <a:rPr lang="de-DE" sz="1400" i="1" dirty="0" smtClean="0">
                <a:solidFill>
                  <a:schemeClr val="bg1"/>
                </a:solidFill>
                <a:cs typeface="Arial" pitchFamily="34" charset="0"/>
              </a:rPr>
              <a:t>Matthias Jäger</a:t>
            </a:r>
            <a:r>
              <a:rPr lang="de-DE" sz="1400" dirty="0">
                <a:solidFill>
                  <a:schemeClr val="bg1"/>
                </a:solidFill>
              </a:rPr>
              <a:t/>
            </a:r>
            <a:br>
              <a:rPr lang="de-DE" sz="1400" dirty="0">
                <a:solidFill>
                  <a:schemeClr val="bg1"/>
                </a:solidFill>
              </a:rPr>
            </a:br>
            <a:r>
              <a:rPr lang="de-DE" sz="1400" dirty="0" err="1" smtClean="0">
                <a:solidFill>
                  <a:schemeClr val="bg1"/>
                </a:solidFill>
              </a:rPr>
              <a:t>Product</a:t>
            </a:r>
            <a:r>
              <a:rPr lang="de-DE" sz="1400" dirty="0" smtClean="0">
                <a:solidFill>
                  <a:schemeClr val="bg1"/>
                </a:solidFill>
              </a:rPr>
              <a:t> Management</a:t>
            </a:r>
          </a:p>
          <a:p>
            <a:r>
              <a:rPr lang="de-DE" sz="1400" dirty="0" err="1" smtClean="0">
                <a:solidFill>
                  <a:schemeClr val="bg1"/>
                </a:solidFill>
              </a:rPr>
              <a:t>Grease</a:t>
            </a:r>
            <a:r>
              <a:rPr lang="de-DE" sz="1400" dirty="0" smtClean="0">
                <a:solidFill>
                  <a:schemeClr val="bg1"/>
                </a:solidFill>
              </a:rPr>
              <a:t> Separators &amp; </a:t>
            </a:r>
            <a:r>
              <a:rPr lang="de-DE" sz="1400" dirty="0" err="1" smtClean="0">
                <a:solidFill>
                  <a:schemeClr val="bg1"/>
                </a:solidFill>
              </a:rPr>
              <a:t>Process</a:t>
            </a:r>
            <a:r>
              <a:rPr lang="de-DE" sz="1400" dirty="0" smtClean="0">
                <a:solidFill>
                  <a:schemeClr val="bg1"/>
                </a:solidFill>
              </a:rPr>
              <a:t> Engineering </a:t>
            </a:r>
            <a:r>
              <a:rPr lang="de-DE" sz="1400" dirty="0">
                <a:solidFill>
                  <a:schemeClr val="bg1"/>
                </a:solidFill>
              </a:rPr>
              <a:t/>
            </a:r>
            <a:br>
              <a:rPr lang="de-DE" sz="1400" dirty="0">
                <a:solidFill>
                  <a:schemeClr val="bg1"/>
                </a:solidFill>
              </a:rPr>
            </a:br>
            <a:endParaRPr lang="de-DE" sz="1400" dirty="0"/>
          </a:p>
        </p:txBody>
      </p:sp>
      <p:pic>
        <p:nvPicPr>
          <p:cNvPr id="5" name="Picture 2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9000" y="1468438"/>
            <a:ext cx="5602288" cy="32432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>
          <a:xfrm>
            <a:off x="2709718" y="243444"/>
            <a:ext cx="6513513" cy="704850"/>
          </a:xfrm>
        </p:spPr>
        <p:txBody>
          <a:bodyPr/>
          <a:lstStyle/>
          <a:p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kitchen</a:t>
            </a:r>
            <a:endParaRPr lang="de-DE" dirty="0"/>
          </a:p>
        </p:txBody>
      </p:sp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4800" y="-17003"/>
            <a:ext cx="1273200" cy="103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535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EN 1825 defines specific water consumption per warm meal for:</a:t>
            </a:r>
            <a:endParaRPr lang="de-DE" kern="0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0006254"/>
              </p:ext>
            </p:extLst>
          </p:nvPr>
        </p:nvGraphicFramePr>
        <p:xfrm>
          <a:off x="366000" y="3080700"/>
          <a:ext cx="10022400" cy="3227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4480"/>
                <a:gridCol w="2004480"/>
                <a:gridCol w="2004480"/>
                <a:gridCol w="2004480"/>
                <a:gridCol w="2004480"/>
              </a:tblGrid>
              <a:tr h="23131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1" kern="120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</a:tr>
              <a:tr h="538042"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Hotel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Speciality</a:t>
                      </a:r>
                      <a:r>
                        <a:rPr lang="de-DE" b="1" baseline="0" smtClean="0"/>
                        <a:t> Restaurant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Works‘ kitchen/ refectorie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Hospital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All day large scale kitchens</a:t>
                      </a:r>
                      <a:endParaRPr lang="de-DE" b="1"/>
                    </a:p>
                  </a:txBody>
                  <a:tcPr/>
                </a:tc>
              </a:tr>
            </a:tbl>
          </a:graphicData>
        </a:graphic>
      </p:graphicFrame>
      <p:pic>
        <p:nvPicPr>
          <p:cNvPr id="1026" name="Picture 2" descr="https://encrypted-tbn0.gstatic.com/images?q=tbn:ANd9GcQGfg1iSqkRDCxG6acEFqoJM34mrLOjk0rqONccAcBP2L_2FVZlTQ">
            <a:hlinkClick r:id="rId4"/>
          </p:cNvPr>
          <p:cNvPicPr>
            <a:picLocks noChangeAspect="1" noChangeArrowheads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0218" b="15694"/>
          <a:stretch/>
        </p:blipFill>
        <p:spPr bwMode="auto">
          <a:xfrm>
            <a:off x="369200" y="2475900"/>
            <a:ext cx="1993000" cy="28105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4603"/>
          <a:stretch/>
        </p:blipFill>
        <p:spPr bwMode="auto">
          <a:xfrm>
            <a:off x="2373050" y="2475900"/>
            <a:ext cx="1989400" cy="281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181"/>
          <a:stretch/>
        </p:blipFill>
        <p:spPr bwMode="auto">
          <a:xfrm>
            <a:off x="4373050" y="2475900"/>
            <a:ext cx="1997750" cy="281243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9" name="Picture 5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235"/>
          <a:stretch/>
        </p:blipFill>
        <p:spPr bwMode="auto">
          <a:xfrm>
            <a:off x="6384025" y="2461188"/>
            <a:ext cx="1997975" cy="282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30" name="Picture 6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89900" y="2461188"/>
            <a:ext cx="1973299" cy="2825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1355580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>
          <a:xfrm>
            <a:off x="2638466" y="231569"/>
            <a:ext cx="6513513" cy="704850"/>
          </a:xfrm>
        </p:spPr>
        <p:txBody>
          <a:bodyPr/>
          <a:lstStyle/>
          <a:p>
            <a:r>
              <a:rPr lang="de-DE" dirty="0" smtClean="0"/>
              <a:t>Type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kitchen</a:t>
            </a:r>
            <a:endParaRPr lang="de-DE" dirty="0"/>
          </a:p>
        </p:txBody>
      </p:sp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4800" y="-17003"/>
            <a:ext cx="1273200" cy="103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535800" cy="517525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Example: 8 operating hours and 200 meals per day</a:t>
            </a:r>
            <a:endParaRPr lang="de-DE" kern="0" dirty="0"/>
          </a:p>
        </p:txBody>
      </p:sp>
      <p:graphicFrame>
        <p:nvGraphicFramePr>
          <p:cNvPr id="3" name="Tabelle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4145828"/>
              </p:ext>
            </p:extLst>
          </p:nvPr>
        </p:nvGraphicFramePr>
        <p:xfrm>
          <a:off x="366000" y="3080700"/>
          <a:ext cx="10022400" cy="3227558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004480"/>
                <a:gridCol w="2004480"/>
                <a:gridCol w="2004480"/>
                <a:gridCol w="2004480"/>
                <a:gridCol w="2004480"/>
              </a:tblGrid>
              <a:tr h="2313158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1" kern="120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</a:tr>
              <a:tr h="538042"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Hotel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Speciality</a:t>
                      </a:r>
                      <a:r>
                        <a:rPr lang="de-DE" b="1" baseline="0" smtClean="0"/>
                        <a:t> Restaurant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Works‘ kitchen/ refectorie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Hospital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All day large scale kitchens</a:t>
                      </a:r>
                      <a:endParaRPr lang="de-DE" b="1"/>
                    </a:p>
                  </a:txBody>
                  <a:tcPr/>
                </a:tc>
              </a:tr>
            </a:tbl>
          </a:graphicData>
        </a:graphic>
      </p:graphicFrame>
      <p:graphicFrame>
        <p:nvGraphicFramePr>
          <p:cNvPr id="12" name="Diagramm 11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446140373"/>
              </p:ext>
            </p:extLst>
          </p:nvPr>
        </p:nvGraphicFramePr>
        <p:xfrm>
          <a:off x="0" y="2400300"/>
          <a:ext cx="10302000" cy="27432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3" name="Rectangle 4"/>
          <p:cNvSpPr txBox="1">
            <a:spLocks noChangeArrowheads="1"/>
          </p:cNvSpPr>
          <p:nvPr/>
        </p:nvSpPr>
        <p:spPr bwMode="auto">
          <a:xfrm>
            <a:off x="350700" y="4890000"/>
            <a:ext cx="5184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b="0" kern="0" smtClean="0"/>
              <a:t>l/s</a:t>
            </a:r>
            <a:endParaRPr lang="de-DE" b="0" kern="0" dirty="0"/>
          </a:p>
        </p:txBody>
      </p:sp>
    </p:spTree>
    <p:extLst>
      <p:ext uri="{BB962C8B-B14F-4D97-AF65-F5344CB8AC3E}">
        <p14:creationId xmlns:p14="http://schemas.microsoft.com/office/powerpoint/2010/main" val="2697360483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>
          <a:xfrm>
            <a:off x="2574093" y="207818"/>
            <a:ext cx="6513513" cy="704850"/>
          </a:xfrm>
        </p:spPr>
        <p:txBody>
          <a:bodyPr/>
          <a:lstStyle/>
          <a:p>
            <a:r>
              <a:rPr lang="de-DE" dirty="0" err="1" smtClean="0"/>
              <a:t>Produced</a:t>
            </a:r>
            <a:r>
              <a:rPr lang="de-DE" dirty="0" smtClean="0"/>
              <a:t> </a:t>
            </a:r>
            <a:r>
              <a:rPr lang="de-DE" dirty="0" err="1" smtClean="0"/>
              <a:t>meals</a:t>
            </a:r>
            <a:r>
              <a:rPr lang="de-DE" dirty="0" smtClean="0"/>
              <a:t> per </a:t>
            </a:r>
            <a:r>
              <a:rPr lang="de-DE" dirty="0" err="1" smtClean="0"/>
              <a:t>day</a:t>
            </a:r>
            <a:endParaRPr lang="de-DE" dirty="0"/>
          </a:p>
        </p:txBody>
      </p:sp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4800" y="-17003"/>
            <a:ext cx="1273200" cy="103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95600" y="2087975"/>
            <a:ext cx="9535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According to the formular used in EN 1825, increasing amount of produced meals perday increases the maximum wastewater inflow. </a:t>
            </a:r>
            <a:endParaRPr lang="de-DE" kern="0" dirty="0"/>
          </a:p>
        </p:txBody>
      </p:sp>
      <p:pic>
        <p:nvPicPr>
          <p:cNvPr id="15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7150" y="4416183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0400" y="377190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94200" y="441983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306900" y="377190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5000" y="4416184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74900" y="377190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400" y="4401423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681500" y="377190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30850" y="4401423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4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8000" y="377190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5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37350" y="4401423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6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3850" y="4401423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7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43850" y="377190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8" name="Picture 2" descr="http://www.fitforfun.de/files/images/201312/0/news-150-portionsgrossen,45799_m_n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94500" y="3771900"/>
            <a:ext cx="1206500" cy="8023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6985225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>
          <a:xfrm>
            <a:off x="2555339" y="244435"/>
            <a:ext cx="6513513" cy="704850"/>
          </a:xfrm>
        </p:spPr>
        <p:txBody>
          <a:bodyPr/>
          <a:lstStyle/>
          <a:p>
            <a:r>
              <a:rPr lang="de-DE" dirty="0" err="1" smtClean="0"/>
              <a:t>Produced</a:t>
            </a:r>
            <a:r>
              <a:rPr lang="de-DE" dirty="0" smtClean="0"/>
              <a:t> </a:t>
            </a:r>
            <a:r>
              <a:rPr lang="de-DE" dirty="0" err="1" smtClean="0"/>
              <a:t>meals</a:t>
            </a:r>
            <a:r>
              <a:rPr lang="de-DE" dirty="0" smtClean="0"/>
              <a:t> per </a:t>
            </a:r>
            <a:r>
              <a:rPr lang="de-DE" dirty="0" err="1" smtClean="0"/>
              <a:t>day</a:t>
            </a:r>
            <a:endParaRPr lang="de-DE" dirty="0"/>
          </a:p>
        </p:txBody>
      </p:sp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4800" y="-17003"/>
            <a:ext cx="1273200" cy="103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535800" cy="517525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Example: 8 operating hours in a hotel kitchen</a:t>
            </a:r>
            <a:endParaRPr lang="de-DE" kern="0" dirty="0"/>
          </a:p>
        </p:txBody>
      </p:sp>
      <p:graphicFrame>
        <p:nvGraphicFramePr>
          <p:cNvPr id="9" name="Diagramm 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54369401"/>
              </p:ext>
            </p:extLst>
          </p:nvPr>
        </p:nvGraphicFramePr>
        <p:xfrm>
          <a:off x="1230000" y="2475900"/>
          <a:ext cx="8344200" cy="4514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4" name="Rectangle 4"/>
          <p:cNvSpPr txBox="1">
            <a:spLocks noChangeArrowheads="1"/>
          </p:cNvSpPr>
          <p:nvPr/>
        </p:nvSpPr>
        <p:spPr bwMode="auto">
          <a:xfrm rot="16200000">
            <a:off x="-1248737" y="4188437"/>
            <a:ext cx="4179001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sz="1600" kern="0" smtClean="0"/>
              <a:t>Maximum wastewater inflow (l/s)</a:t>
            </a:r>
            <a:endParaRPr lang="de-DE" sz="1600" kern="0" dirty="0"/>
          </a:p>
        </p:txBody>
      </p:sp>
      <p:sp>
        <p:nvSpPr>
          <p:cNvPr id="15" name="Rectangle 4"/>
          <p:cNvSpPr txBox="1">
            <a:spLocks noChangeArrowheads="1"/>
          </p:cNvSpPr>
          <p:nvPr/>
        </p:nvSpPr>
        <p:spPr bwMode="auto">
          <a:xfrm>
            <a:off x="4254000" y="6925500"/>
            <a:ext cx="2937600" cy="35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sz="1600" kern="0" smtClean="0"/>
              <a:t>Produced meals per day</a:t>
            </a:r>
            <a:endParaRPr lang="de-DE" sz="1600" kern="0" dirty="0"/>
          </a:p>
        </p:txBody>
      </p:sp>
    </p:spTree>
    <p:extLst>
      <p:ext uri="{BB962C8B-B14F-4D97-AF65-F5344CB8AC3E}">
        <p14:creationId xmlns:p14="http://schemas.microsoft.com/office/powerpoint/2010/main" val="311324672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>
          <a:xfrm>
            <a:off x="2674092" y="228600"/>
            <a:ext cx="6513513" cy="704850"/>
          </a:xfrm>
        </p:spPr>
        <p:txBody>
          <a:bodyPr/>
          <a:lstStyle/>
          <a:p>
            <a:r>
              <a:rPr lang="de-DE" dirty="0" smtClean="0"/>
              <a:t>Operating </a:t>
            </a:r>
            <a:r>
              <a:rPr lang="de-DE" dirty="0" err="1" smtClean="0"/>
              <a:t>hours</a:t>
            </a:r>
            <a:endParaRPr lang="de-DE" dirty="0"/>
          </a:p>
        </p:txBody>
      </p:sp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4800" y="-17003"/>
            <a:ext cx="1273200" cy="103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95600" y="2087975"/>
            <a:ext cx="9535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According to the formular used in EN 1825, an increasing amount of operating hours decreases the maximum wastewater flow at fixed other conditions (type of kitchen, meals per day) </a:t>
            </a:r>
            <a:endParaRPr lang="de-DE" kern="0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958000" y="2994300"/>
            <a:ext cx="4829175" cy="34766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5372887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Operating hours</a:t>
            </a:r>
            <a:endParaRPr lang="de-DE" dirty="0"/>
          </a:p>
        </p:txBody>
      </p:sp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394800" y="-17003"/>
            <a:ext cx="1273200" cy="10324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535800" cy="517525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Example: Hotel kitchen, 200 meals per day</a:t>
            </a:r>
            <a:endParaRPr lang="de-DE" kern="0" dirty="0"/>
          </a:p>
        </p:txBody>
      </p:sp>
      <p:sp>
        <p:nvSpPr>
          <p:cNvPr id="14" name="Rectangle 4"/>
          <p:cNvSpPr txBox="1">
            <a:spLocks noChangeArrowheads="1"/>
          </p:cNvSpPr>
          <p:nvPr/>
        </p:nvSpPr>
        <p:spPr bwMode="auto">
          <a:xfrm rot="16200000">
            <a:off x="-1248737" y="4188437"/>
            <a:ext cx="4179001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sz="1600" kern="0" smtClean="0"/>
              <a:t>Maximum wastewater inflow (l/s)</a:t>
            </a:r>
            <a:endParaRPr lang="de-DE" sz="1600" kern="0" dirty="0"/>
          </a:p>
        </p:txBody>
      </p:sp>
      <p:sp>
        <p:nvSpPr>
          <p:cNvPr id="15" name="Rectangle 4"/>
          <p:cNvSpPr txBox="1">
            <a:spLocks noChangeArrowheads="1"/>
          </p:cNvSpPr>
          <p:nvPr/>
        </p:nvSpPr>
        <p:spPr bwMode="auto">
          <a:xfrm>
            <a:off x="4513200" y="6795900"/>
            <a:ext cx="2937600" cy="359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sz="1600" kern="0" smtClean="0"/>
              <a:t>Operating hours per day</a:t>
            </a:r>
            <a:endParaRPr lang="de-DE" sz="1600" kern="0" dirty="0"/>
          </a:p>
        </p:txBody>
      </p:sp>
      <p:graphicFrame>
        <p:nvGraphicFramePr>
          <p:cNvPr id="10" name="Diagramm 9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84895480"/>
              </p:ext>
            </p:extLst>
          </p:nvPr>
        </p:nvGraphicFramePr>
        <p:xfrm>
          <a:off x="1186800" y="2400300"/>
          <a:ext cx="8947800" cy="43524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6111411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smtClean="0">
                <a:solidFill>
                  <a:srgbClr val="000000"/>
                </a:solidFill>
              </a:rPr>
            </a:br>
            <a:r>
              <a:rPr 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717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/>
          <a:p>
            <a:endParaRPr lang="de-DE"/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1609725" y="2260600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 anchor="ctr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4000" b="1" dirty="0" err="1" smtClean="0">
                <a:solidFill>
                  <a:schemeClr val="bg1"/>
                </a:solidFill>
              </a:rPr>
              <a:t>Difficulty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factors</a:t>
            </a:r>
            <a:endParaRPr lang="de-DE" sz="4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893515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8105775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dirty="0" err="1" smtClean="0"/>
              <a:t>Typ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ifficulty</a:t>
            </a:r>
            <a:r>
              <a:rPr lang="de-DE" dirty="0" smtClean="0"/>
              <a:t> </a:t>
            </a:r>
            <a:r>
              <a:rPr lang="de-DE" dirty="0" err="1" smtClean="0"/>
              <a:t>factor</a:t>
            </a:r>
            <a:r>
              <a:rPr lang="de-DE" dirty="0" err="1"/>
              <a:t>s</a:t>
            </a:r>
            <a:endParaRPr lang="de-DE" dirty="0" smtClean="0"/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9792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dirty="0" err="1"/>
              <a:t>A</a:t>
            </a:r>
            <a:r>
              <a:rPr lang="de-DE" kern="0" dirty="0" err="1" smtClean="0"/>
              <a:t>ccording</a:t>
            </a:r>
            <a:r>
              <a:rPr lang="de-DE" kern="0" dirty="0" smtClean="0"/>
              <a:t> </a:t>
            </a:r>
            <a:r>
              <a:rPr lang="de-DE" kern="0" dirty="0" err="1" smtClean="0"/>
              <a:t>to</a:t>
            </a:r>
            <a:r>
              <a:rPr lang="de-DE" kern="0" dirty="0" smtClean="0"/>
              <a:t> EN 1825 </a:t>
            </a:r>
            <a:r>
              <a:rPr lang="de-DE" kern="0" dirty="0" err="1" smtClean="0"/>
              <a:t>there</a:t>
            </a:r>
            <a:r>
              <a:rPr lang="de-DE" kern="0" dirty="0" smtClean="0"/>
              <a:t> </a:t>
            </a:r>
            <a:r>
              <a:rPr lang="de-DE" kern="0" dirty="0" err="1" smtClean="0"/>
              <a:t>exits</a:t>
            </a:r>
            <a:r>
              <a:rPr lang="de-DE" kern="0" dirty="0" smtClean="0"/>
              <a:t> </a:t>
            </a:r>
            <a:r>
              <a:rPr lang="de-DE" u="sng" kern="0" dirty="0" smtClean="0"/>
              <a:t>THREE</a:t>
            </a:r>
            <a:r>
              <a:rPr lang="de-DE" kern="0" dirty="0" smtClean="0"/>
              <a:t> different </a:t>
            </a:r>
            <a:r>
              <a:rPr lang="de-DE" kern="0" dirty="0" err="1" smtClean="0"/>
              <a:t>difficulty</a:t>
            </a:r>
            <a:r>
              <a:rPr lang="de-DE" kern="0" dirty="0" smtClean="0"/>
              <a:t> </a:t>
            </a:r>
            <a:r>
              <a:rPr lang="de-DE" kern="0" dirty="0" err="1" smtClean="0"/>
              <a:t>factors</a:t>
            </a:r>
            <a:r>
              <a:rPr lang="de-DE" b="0" kern="0" dirty="0" smtClean="0"/>
              <a:t>:</a:t>
            </a:r>
            <a:endParaRPr lang="de-DE" b="0" kern="0" dirty="0"/>
          </a:p>
        </p:txBody>
      </p:sp>
      <p:pic>
        <p:nvPicPr>
          <p:cNvPr id="1026" name="Picture 2" descr="Verschiedenene flüssige Wasch- und Putzmittel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83725" y="4541279"/>
            <a:ext cx="2921825" cy="188327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30" name="Picture 6" descr="http://www.leifiphysik.de/sites/default/files/medien/styles/thumb-470-232/public/temperatur_overview.jpg?itok=j-bBlxv8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53538" y="4541279"/>
            <a:ext cx="2921825" cy="188327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6"/>
          <p:cNvSpPr>
            <a:spLocks noChangeArrowheads="1"/>
          </p:cNvSpPr>
          <p:nvPr/>
        </p:nvSpPr>
        <p:spPr bwMode="auto">
          <a:xfrm>
            <a:off x="483725" y="2420767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 smtClean="0">
                <a:solidFill>
                  <a:schemeClr val="bg1"/>
                </a:solidFill>
                <a:latin typeface="+mn-lt"/>
              </a:rPr>
              <a:t>Cleaning</a:t>
            </a:r>
            <a:r>
              <a:rPr lang="de-DE" sz="2000" b="1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2000" b="1" dirty="0" err="1" smtClean="0">
                <a:solidFill>
                  <a:schemeClr val="bg1"/>
                </a:solidFill>
                <a:latin typeface="+mn-lt"/>
              </a:rPr>
              <a:t>Agents</a:t>
            </a:r>
            <a:endParaRPr lang="de-DE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4" name="Rectangle 6"/>
          <p:cNvSpPr>
            <a:spLocks noChangeArrowheads="1"/>
          </p:cNvSpPr>
          <p:nvPr/>
        </p:nvSpPr>
        <p:spPr bwMode="auto">
          <a:xfrm>
            <a:off x="3853539" y="2420767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 smtClean="0">
                <a:solidFill>
                  <a:schemeClr val="bg1"/>
                </a:solidFill>
                <a:latin typeface="+mn-lt"/>
              </a:rPr>
              <a:t>Temperature</a:t>
            </a:r>
            <a:endParaRPr lang="de-DE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5" name="Rectangle 6"/>
          <p:cNvSpPr>
            <a:spLocks noChangeArrowheads="1"/>
          </p:cNvSpPr>
          <p:nvPr/>
        </p:nvSpPr>
        <p:spPr bwMode="auto">
          <a:xfrm>
            <a:off x="7186590" y="2420767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 smtClean="0">
                <a:solidFill>
                  <a:schemeClr val="bg1"/>
                </a:solidFill>
                <a:latin typeface="+mn-lt"/>
              </a:rPr>
              <a:t>Density</a:t>
            </a:r>
            <a:r>
              <a:rPr lang="de-DE" sz="2000" b="1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2000" b="1" dirty="0" err="1" smtClean="0">
                <a:solidFill>
                  <a:schemeClr val="bg1"/>
                </a:solidFill>
                <a:latin typeface="+mn-lt"/>
              </a:rPr>
              <a:t>of</a:t>
            </a:r>
            <a:r>
              <a:rPr lang="de-DE" sz="2000" b="1" dirty="0" smtClean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2000" b="1" dirty="0" err="1" smtClean="0">
                <a:solidFill>
                  <a:schemeClr val="bg1"/>
                </a:solidFill>
                <a:latin typeface="+mn-lt"/>
              </a:rPr>
              <a:t>grease</a:t>
            </a:r>
            <a:endParaRPr lang="de-DE" sz="2000" dirty="0">
              <a:solidFill>
                <a:schemeClr val="bg1"/>
              </a:solidFill>
              <a:latin typeface="+mn-lt"/>
            </a:endParaRPr>
          </a:p>
        </p:txBody>
      </p:sp>
      <p:pic>
        <p:nvPicPr>
          <p:cNvPr id="1032" name="Picture 8" descr="http://www.schule-bw.de/unterricht/faecher/physik/online_material/mechanik/druck/sinkenschwimmen1.jpg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101523" y="4541279"/>
            <a:ext cx="3091958" cy="188327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AutoShape 15"/>
          <p:cNvSpPr>
            <a:spLocks noChangeArrowheads="1"/>
          </p:cNvSpPr>
          <p:nvPr/>
        </p:nvSpPr>
        <p:spPr bwMode="auto">
          <a:xfrm>
            <a:off x="1756621" y="3719270"/>
            <a:ext cx="376029" cy="656778"/>
          </a:xfrm>
          <a:prstGeom prst="downArrow">
            <a:avLst>
              <a:gd name="adj1" fmla="val 50000"/>
              <a:gd name="adj2" fmla="val 40344"/>
            </a:avLst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extrusionH="76200" prstMaterial="plastic">
            <a:bevelT w="127000" h="38100"/>
          </a:sp3d>
          <a:extLst/>
        </p:spPr>
        <p:txBody>
          <a:bodyPr wrap="none" anchor="ctr"/>
          <a:lstStyle/>
          <a:p>
            <a:pPr algn="ctr">
              <a:defRPr/>
            </a:pPr>
            <a:endParaRPr lang="de-DE">
              <a:cs typeface="+mn-cs"/>
            </a:endParaRPr>
          </a:p>
        </p:txBody>
      </p:sp>
      <p:sp>
        <p:nvSpPr>
          <p:cNvPr id="18" name="AutoShape 15"/>
          <p:cNvSpPr>
            <a:spLocks noChangeArrowheads="1"/>
          </p:cNvSpPr>
          <p:nvPr/>
        </p:nvSpPr>
        <p:spPr bwMode="auto">
          <a:xfrm>
            <a:off x="5126438" y="3719270"/>
            <a:ext cx="376029" cy="656778"/>
          </a:xfrm>
          <a:prstGeom prst="downArrow">
            <a:avLst>
              <a:gd name="adj1" fmla="val 50000"/>
              <a:gd name="adj2" fmla="val 40344"/>
            </a:avLst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extrusionH="76200" prstMaterial="plastic">
            <a:bevelT w="127000" h="38100"/>
          </a:sp3d>
          <a:extLst/>
        </p:spPr>
        <p:txBody>
          <a:bodyPr wrap="none" anchor="ctr"/>
          <a:lstStyle/>
          <a:p>
            <a:pPr algn="ctr">
              <a:defRPr/>
            </a:pPr>
            <a:endParaRPr lang="de-DE">
              <a:cs typeface="+mn-cs"/>
            </a:endParaRPr>
          </a:p>
        </p:txBody>
      </p:sp>
      <p:sp>
        <p:nvSpPr>
          <p:cNvPr id="19" name="AutoShape 15"/>
          <p:cNvSpPr>
            <a:spLocks noChangeArrowheads="1"/>
          </p:cNvSpPr>
          <p:nvPr/>
        </p:nvSpPr>
        <p:spPr bwMode="auto">
          <a:xfrm>
            <a:off x="8459487" y="3719270"/>
            <a:ext cx="376029" cy="656778"/>
          </a:xfrm>
          <a:prstGeom prst="downArrow">
            <a:avLst>
              <a:gd name="adj1" fmla="val 50000"/>
              <a:gd name="adj2" fmla="val 40344"/>
            </a:avLst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extrusionH="76200" prstMaterial="plastic">
            <a:bevelT w="127000" h="38100"/>
          </a:sp3d>
          <a:extLst/>
        </p:spPr>
        <p:txBody>
          <a:bodyPr wrap="none" anchor="ctr"/>
          <a:lstStyle/>
          <a:p>
            <a:pPr algn="ctr">
              <a:defRPr/>
            </a:pPr>
            <a:endParaRPr lang="de-DE">
              <a:cs typeface="+mn-cs"/>
            </a:endParaRPr>
          </a:p>
        </p:txBody>
      </p:sp>
      <p:sp>
        <p:nvSpPr>
          <p:cNvPr id="20" name="Geschweifte Klammer rechts 19"/>
          <p:cNvSpPr/>
          <p:nvPr/>
        </p:nvSpPr>
        <p:spPr bwMode="auto">
          <a:xfrm rot="5400000">
            <a:off x="5091378" y="3483229"/>
            <a:ext cx="438724" cy="6298869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5" name="Textfeld 4"/>
          <p:cNvSpPr txBox="1"/>
          <p:nvPr/>
        </p:nvSpPr>
        <p:spPr>
          <a:xfrm>
            <a:off x="771896" y="7018317"/>
            <a:ext cx="915587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u="sng" dirty="0" smtClean="0">
                <a:latin typeface="+mj-lt"/>
              </a:rPr>
              <a:t>All </a:t>
            </a:r>
            <a:r>
              <a:rPr lang="de-DE" sz="1800" u="sng" dirty="0" err="1" smtClean="0">
                <a:latin typeface="+mj-lt"/>
              </a:rPr>
              <a:t>these</a:t>
            </a:r>
            <a:r>
              <a:rPr lang="de-DE" sz="1800" u="sng" dirty="0" smtClean="0">
                <a:latin typeface="+mj-lt"/>
              </a:rPr>
              <a:t> </a:t>
            </a:r>
            <a:r>
              <a:rPr lang="de-DE" sz="1800" u="sng" dirty="0" err="1" smtClean="0">
                <a:latin typeface="+mj-lt"/>
              </a:rPr>
              <a:t>factors</a:t>
            </a:r>
            <a:r>
              <a:rPr lang="de-DE" sz="1800" u="sng" dirty="0" smtClean="0">
                <a:latin typeface="+mj-lt"/>
              </a:rPr>
              <a:t> </a:t>
            </a:r>
            <a:r>
              <a:rPr lang="de-DE" sz="1800" u="sng" dirty="0" err="1" smtClean="0">
                <a:latin typeface="+mj-lt"/>
              </a:rPr>
              <a:t>reduce</a:t>
            </a:r>
            <a:r>
              <a:rPr lang="de-DE" sz="1800" u="sng" dirty="0" smtClean="0">
                <a:latin typeface="+mj-lt"/>
              </a:rPr>
              <a:t> </a:t>
            </a:r>
            <a:r>
              <a:rPr lang="de-DE" sz="1800" u="sng" dirty="0" err="1" smtClean="0">
                <a:latin typeface="+mj-lt"/>
              </a:rPr>
              <a:t>the</a:t>
            </a:r>
            <a:r>
              <a:rPr lang="de-DE" sz="1800" u="sng" dirty="0" smtClean="0">
                <a:latin typeface="+mj-lt"/>
              </a:rPr>
              <a:t> </a:t>
            </a:r>
            <a:r>
              <a:rPr lang="de-DE" sz="1800" u="sng" dirty="0" err="1" smtClean="0">
                <a:latin typeface="+mj-lt"/>
              </a:rPr>
              <a:t>separation</a:t>
            </a:r>
            <a:r>
              <a:rPr lang="de-DE" sz="1800" u="sng" dirty="0" smtClean="0">
                <a:latin typeface="+mj-lt"/>
              </a:rPr>
              <a:t> </a:t>
            </a:r>
            <a:r>
              <a:rPr lang="de-DE" sz="1800" u="sng" dirty="0" err="1" smtClean="0">
                <a:latin typeface="+mj-lt"/>
              </a:rPr>
              <a:t>effect</a:t>
            </a:r>
            <a:r>
              <a:rPr lang="de-DE" sz="1800" u="sng" dirty="0" smtClean="0">
                <a:latin typeface="+mj-lt"/>
              </a:rPr>
              <a:t> </a:t>
            </a:r>
            <a:endParaRPr lang="de-DE" sz="1800" u="sng" dirty="0">
              <a:latin typeface="+mj-lt"/>
            </a:endParaRPr>
          </a:p>
        </p:txBody>
      </p:sp>
      <p:cxnSp>
        <p:nvCxnSpPr>
          <p:cNvPr id="9" name="Gerade Verbindung mit Pfeil 8"/>
          <p:cNvCxnSpPr/>
          <p:nvPr/>
        </p:nvCxnSpPr>
        <p:spPr bwMode="auto">
          <a:xfrm>
            <a:off x="1733771" y="7202983"/>
            <a:ext cx="754083" cy="0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  <p:cxnSp>
        <p:nvCxnSpPr>
          <p:cNvPr id="25" name="Gerade Verbindung mit Pfeil 24"/>
          <p:cNvCxnSpPr/>
          <p:nvPr/>
        </p:nvCxnSpPr>
        <p:spPr bwMode="auto">
          <a:xfrm flipH="1">
            <a:off x="8288972" y="7202983"/>
            <a:ext cx="748419" cy="0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6873321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3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 animBg="1"/>
      <p:bldP spid="14" grpId="0" animBg="1"/>
      <p:bldP spid="15" grpId="0" animBg="1"/>
      <p:bldP spid="17" grpId="0" animBg="1"/>
      <p:bldP spid="18" grpId="0" animBg="1"/>
      <p:bldP spid="19" grpId="0" animBg="1"/>
      <p:bldP spid="20" grpId="0" animBg="1"/>
      <p:bldP spid="5" grpId="0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8105775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dirty="0" err="1" smtClean="0"/>
              <a:t>Difficulty</a:t>
            </a:r>
            <a:r>
              <a:rPr lang="de-DE" dirty="0" smtClean="0"/>
              <a:t> </a:t>
            </a:r>
            <a:r>
              <a:rPr lang="de-DE" dirty="0" err="1" smtClean="0"/>
              <a:t>factor</a:t>
            </a:r>
            <a:r>
              <a:rPr lang="de-DE" dirty="0" smtClean="0"/>
              <a:t>: </a:t>
            </a:r>
            <a:r>
              <a:rPr lang="de-DE" dirty="0" err="1" smtClean="0"/>
              <a:t>Cleaning</a:t>
            </a:r>
            <a:r>
              <a:rPr lang="de-DE" dirty="0" smtClean="0"/>
              <a:t> </a:t>
            </a:r>
            <a:r>
              <a:rPr lang="de-DE" dirty="0" err="1" smtClean="0"/>
              <a:t>Agents</a:t>
            </a:r>
            <a:endParaRPr lang="de-DE" dirty="0" smtClean="0"/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9792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dirty="0" err="1" smtClean="0"/>
              <a:t>Application</a:t>
            </a:r>
            <a:r>
              <a:rPr lang="de-DE" kern="0" dirty="0" smtClean="0"/>
              <a:t> </a:t>
            </a:r>
            <a:r>
              <a:rPr lang="de-DE" kern="0" dirty="0" err="1" smtClean="0"/>
              <a:t>of</a:t>
            </a:r>
            <a:r>
              <a:rPr lang="de-DE" kern="0" dirty="0" smtClean="0"/>
              <a:t> </a:t>
            </a:r>
            <a:r>
              <a:rPr lang="de-DE" kern="0" dirty="0" err="1" smtClean="0"/>
              <a:t>difficulty</a:t>
            </a:r>
            <a:r>
              <a:rPr lang="de-DE" kern="0" dirty="0" smtClean="0"/>
              <a:t> </a:t>
            </a:r>
            <a:r>
              <a:rPr lang="de-DE" kern="0" dirty="0" err="1" smtClean="0"/>
              <a:t>factor</a:t>
            </a:r>
            <a:r>
              <a:rPr lang="de-DE" kern="0" dirty="0" smtClean="0"/>
              <a:t> </a:t>
            </a:r>
            <a:r>
              <a:rPr lang="de-DE" kern="0" dirty="0" err="1" smtClean="0"/>
              <a:t>for</a:t>
            </a:r>
            <a:r>
              <a:rPr lang="de-DE" kern="0" dirty="0" smtClean="0"/>
              <a:t> </a:t>
            </a:r>
            <a:r>
              <a:rPr lang="de-DE" kern="0" dirty="0" err="1" smtClean="0"/>
              <a:t>cleaning</a:t>
            </a:r>
            <a:r>
              <a:rPr lang="de-DE" kern="0" dirty="0" smtClean="0"/>
              <a:t> </a:t>
            </a:r>
            <a:r>
              <a:rPr lang="de-DE" kern="0" dirty="0" err="1" smtClean="0"/>
              <a:t>agents</a:t>
            </a:r>
            <a:r>
              <a:rPr lang="de-DE" kern="0" dirty="0" smtClean="0"/>
              <a:t> </a:t>
            </a:r>
            <a:r>
              <a:rPr lang="de-DE" kern="0" dirty="0" err="1" smtClean="0"/>
              <a:t>according</a:t>
            </a:r>
            <a:r>
              <a:rPr lang="de-DE" kern="0" dirty="0" smtClean="0"/>
              <a:t> </a:t>
            </a:r>
            <a:r>
              <a:rPr lang="de-DE" kern="0" dirty="0" err="1" smtClean="0"/>
              <a:t>to</a:t>
            </a:r>
            <a:r>
              <a:rPr lang="de-DE" kern="0" dirty="0" smtClean="0"/>
              <a:t> </a:t>
            </a:r>
          </a:p>
          <a:p>
            <a:r>
              <a:rPr lang="de-DE" kern="0" dirty="0" smtClean="0"/>
              <a:t>EN 1825:</a:t>
            </a:r>
            <a:endParaRPr lang="de-DE" kern="0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1532672"/>
              </p:ext>
            </p:extLst>
          </p:nvPr>
        </p:nvGraphicFramePr>
        <p:xfrm>
          <a:off x="510300" y="3021325"/>
          <a:ext cx="9662100" cy="324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1057"/>
                <a:gridCol w="4141043"/>
              </a:tblGrid>
              <a:tr h="810000">
                <a:tc>
                  <a:txBody>
                    <a:bodyPr/>
                    <a:lstStyle/>
                    <a:p>
                      <a:pPr algn="l"/>
                      <a:r>
                        <a:rPr lang="de-DE" sz="2000" dirty="0" err="1" smtClean="0"/>
                        <a:t>Application</a:t>
                      </a:r>
                      <a:r>
                        <a:rPr lang="de-DE" sz="2000" dirty="0" smtClean="0"/>
                        <a:t> </a:t>
                      </a:r>
                      <a:r>
                        <a:rPr lang="de-DE" sz="2000" dirty="0" err="1" smtClean="0"/>
                        <a:t>of</a:t>
                      </a:r>
                      <a:r>
                        <a:rPr lang="de-DE" sz="2000" dirty="0" smtClean="0"/>
                        <a:t> </a:t>
                      </a:r>
                      <a:r>
                        <a:rPr lang="de-DE" sz="2000" dirty="0" err="1" smtClean="0"/>
                        <a:t>cleaning</a:t>
                      </a:r>
                      <a:r>
                        <a:rPr lang="de-DE" sz="2000" baseline="0" dirty="0" smtClean="0"/>
                        <a:t> </a:t>
                      </a:r>
                      <a:r>
                        <a:rPr lang="de-DE" sz="2000" baseline="0" dirty="0" err="1" smtClean="0"/>
                        <a:t>agents</a:t>
                      </a:r>
                      <a:endParaRPr lang="de-DE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err="1" smtClean="0"/>
                        <a:t>Difficulty</a:t>
                      </a:r>
                      <a:r>
                        <a:rPr lang="de-DE" sz="2000" baseline="0" dirty="0" smtClean="0"/>
                        <a:t> </a:t>
                      </a:r>
                      <a:r>
                        <a:rPr lang="de-DE" sz="2000" baseline="0" dirty="0" err="1" smtClean="0"/>
                        <a:t>factor</a:t>
                      </a:r>
                      <a:endParaRPr lang="de-DE" sz="2000" dirty="0"/>
                    </a:p>
                  </a:txBody>
                  <a:tcPr anchor="ctr"/>
                </a:tc>
              </a:tr>
              <a:tr h="810000">
                <a:tc>
                  <a:txBody>
                    <a:bodyPr/>
                    <a:lstStyle/>
                    <a:p>
                      <a:r>
                        <a:rPr lang="de-DE" smtClean="0"/>
                        <a:t>No application</a:t>
                      </a:r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1,0</a:t>
                      </a:r>
                      <a:endParaRPr lang="de-DE" b="1"/>
                    </a:p>
                  </a:txBody>
                  <a:tcPr anchor="ctr"/>
                </a:tc>
              </a:tr>
              <a:tr h="810000">
                <a:tc>
                  <a:txBody>
                    <a:bodyPr/>
                    <a:lstStyle/>
                    <a:p>
                      <a:r>
                        <a:rPr lang="de-DE" smtClean="0"/>
                        <a:t>Application</a:t>
                      </a:r>
                      <a:r>
                        <a:rPr lang="de-DE" baseline="0" smtClean="0"/>
                        <a:t> in commercial kitchens</a:t>
                      </a:r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1,3</a:t>
                      </a:r>
                      <a:endParaRPr lang="de-DE" b="1"/>
                    </a:p>
                  </a:txBody>
                  <a:tcPr anchor="ctr"/>
                </a:tc>
              </a:tr>
              <a:tr h="810000">
                <a:tc>
                  <a:txBody>
                    <a:bodyPr/>
                    <a:lstStyle/>
                    <a:p>
                      <a:r>
                        <a:rPr lang="de-DE" smtClean="0"/>
                        <a:t>Application</a:t>
                      </a:r>
                      <a:r>
                        <a:rPr lang="de-DE" baseline="0" smtClean="0"/>
                        <a:t> in hospitals</a:t>
                      </a:r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dirty="0" smtClean="0"/>
                        <a:t>1,5</a:t>
                      </a:r>
                      <a:endParaRPr lang="de-DE" b="1" dirty="0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5" name="Picture 2" descr="Verschiedenene flüssige Wasch- und Putzmittel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67766" y="-1"/>
            <a:ext cx="1400234" cy="1009404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892532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8105775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smtClean="0"/>
              <a:t>Difficulty factor: temperature</a:t>
            </a:r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9792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Application of difficulty factor for temperature according to EN 1825:</a:t>
            </a:r>
            <a:endParaRPr lang="de-DE" kern="0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4874909"/>
              </p:ext>
            </p:extLst>
          </p:nvPr>
        </p:nvGraphicFramePr>
        <p:xfrm>
          <a:off x="510300" y="3080700"/>
          <a:ext cx="9662100" cy="2430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1057"/>
                <a:gridCol w="4141043"/>
              </a:tblGrid>
              <a:tr h="810000"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err="1" smtClean="0"/>
                        <a:t>Temperature</a:t>
                      </a:r>
                      <a:r>
                        <a:rPr lang="de-DE" sz="2000" baseline="0" dirty="0" smtClean="0"/>
                        <a:t> </a:t>
                      </a:r>
                      <a:r>
                        <a:rPr lang="de-DE" sz="2000" baseline="0" dirty="0" err="1" smtClean="0"/>
                        <a:t>of</a:t>
                      </a:r>
                      <a:r>
                        <a:rPr lang="de-DE" sz="2000" baseline="0" dirty="0" smtClean="0"/>
                        <a:t> </a:t>
                      </a:r>
                      <a:r>
                        <a:rPr lang="de-DE" sz="2000" baseline="0" dirty="0" err="1" smtClean="0"/>
                        <a:t>kitchen</a:t>
                      </a:r>
                      <a:r>
                        <a:rPr lang="de-DE" sz="2000" baseline="0" dirty="0" smtClean="0"/>
                        <a:t> </a:t>
                      </a:r>
                      <a:r>
                        <a:rPr lang="de-DE" sz="2000" baseline="0" dirty="0" err="1" smtClean="0"/>
                        <a:t>wastewater</a:t>
                      </a:r>
                      <a:endParaRPr lang="de-DE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err="1" smtClean="0"/>
                        <a:t>Difficulty</a:t>
                      </a:r>
                      <a:r>
                        <a:rPr lang="de-DE" sz="2000" baseline="0" dirty="0" smtClean="0"/>
                        <a:t> </a:t>
                      </a:r>
                      <a:r>
                        <a:rPr lang="de-DE" sz="2000" baseline="0" dirty="0" err="1" smtClean="0"/>
                        <a:t>factor</a:t>
                      </a:r>
                      <a:endParaRPr lang="de-DE" sz="2000" dirty="0"/>
                    </a:p>
                  </a:txBody>
                  <a:tcPr anchor="ctr"/>
                </a:tc>
              </a:tr>
              <a:tr h="810000">
                <a:tc>
                  <a:txBody>
                    <a:bodyPr/>
                    <a:lstStyle/>
                    <a:p>
                      <a:r>
                        <a:rPr lang="de-DE" smtClean="0"/>
                        <a:t>Below</a:t>
                      </a:r>
                      <a:r>
                        <a:rPr lang="de-DE" baseline="0" smtClean="0"/>
                        <a:t> 60 °C</a:t>
                      </a:r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1,0</a:t>
                      </a:r>
                      <a:endParaRPr lang="de-DE" b="1"/>
                    </a:p>
                  </a:txBody>
                  <a:tcPr anchor="ctr"/>
                </a:tc>
              </a:tr>
              <a:tr h="810000">
                <a:tc>
                  <a:txBody>
                    <a:bodyPr/>
                    <a:lstStyle/>
                    <a:p>
                      <a:r>
                        <a:rPr lang="de-DE" baseline="0" smtClean="0"/>
                        <a:t>Above 60 °C</a:t>
                      </a:r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1,3</a:t>
                      </a:r>
                      <a:endParaRPr lang="de-DE" b="1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5" name="Picture 6" descr="http://www.leifiphysik.de/sites/default/files/medien/styles/thumb-470-232/public/temperatur_overview.jpg?itok=j-bBlxv8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05723" y="0"/>
            <a:ext cx="1662277" cy="98565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69766559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de-DE" dirty="0" smtClean="0"/>
              <a:t>DIMENSIONING</a:t>
            </a:r>
            <a:endParaRPr lang="de-DE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8105775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smtClean="0"/>
              <a:t>Difficulty factor: density of cooking oil</a:t>
            </a:r>
          </a:p>
        </p:txBody>
      </p:sp>
      <p:sp>
        <p:nvSpPr>
          <p:cNvPr id="27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9792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Application of difficulty factor for density according to EN 1825:</a:t>
            </a:r>
            <a:endParaRPr lang="de-DE" kern="0" dirty="0"/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00088048"/>
              </p:ext>
            </p:extLst>
          </p:nvPr>
        </p:nvGraphicFramePr>
        <p:xfrm>
          <a:off x="510300" y="3080700"/>
          <a:ext cx="9662100" cy="26388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521057"/>
                <a:gridCol w="4141043"/>
              </a:tblGrid>
              <a:tr h="810000"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err="1" smtClean="0"/>
                        <a:t>Density</a:t>
                      </a:r>
                      <a:r>
                        <a:rPr lang="de-DE" sz="2000" dirty="0" smtClean="0"/>
                        <a:t> </a:t>
                      </a:r>
                      <a:r>
                        <a:rPr lang="de-DE" sz="2000" dirty="0" err="1" smtClean="0"/>
                        <a:t>of</a:t>
                      </a:r>
                      <a:r>
                        <a:rPr lang="de-DE" sz="2000" dirty="0" smtClean="0"/>
                        <a:t> </a:t>
                      </a:r>
                      <a:r>
                        <a:rPr lang="de-DE" sz="2000" dirty="0" err="1" smtClean="0"/>
                        <a:t>grease</a:t>
                      </a:r>
                      <a:r>
                        <a:rPr lang="de-DE" sz="2000" dirty="0" smtClean="0"/>
                        <a:t> </a:t>
                      </a:r>
                      <a:r>
                        <a:rPr lang="de-DE" sz="2000" dirty="0" err="1" smtClean="0"/>
                        <a:t>or</a:t>
                      </a:r>
                      <a:r>
                        <a:rPr lang="de-DE" sz="2000" dirty="0" smtClean="0"/>
                        <a:t> </a:t>
                      </a:r>
                      <a:r>
                        <a:rPr lang="de-DE" sz="2000" dirty="0" err="1" smtClean="0"/>
                        <a:t>oil</a:t>
                      </a:r>
                      <a:endParaRPr lang="de-DE" sz="20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2000" dirty="0" err="1" smtClean="0"/>
                        <a:t>Difficulty</a:t>
                      </a:r>
                      <a:r>
                        <a:rPr lang="de-DE" sz="2000" baseline="0" dirty="0" smtClean="0"/>
                        <a:t> </a:t>
                      </a:r>
                      <a:r>
                        <a:rPr lang="de-DE" sz="2000" baseline="0" dirty="0" err="1" smtClean="0"/>
                        <a:t>factor</a:t>
                      </a:r>
                      <a:endParaRPr lang="de-DE" sz="2000" dirty="0"/>
                    </a:p>
                  </a:txBody>
                  <a:tcPr anchor="ctr"/>
                </a:tc>
              </a:tr>
              <a:tr h="81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smtClean="0"/>
                        <a:t/>
                      </a:r>
                      <a:br>
                        <a:rPr lang="de-DE" smtClean="0"/>
                      </a:br>
                      <a:r>
                        <a:rPr lang="de-DE" smtClean="0"/>
                        <a:t>Up to 0.94 g/cm</a:t>
                      </a:r>
                      <a:r>
                        <a:rPr lang="de-DE" sz="1800" kern="1200" baseline="300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de-DE" sz="1800" kern="120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1,0</a:t>
                      </a:r>
                      <a:endParaRPr lang="de-DE" b="1"/>
                    </a:p>
                  </a:txBody>
                  <a:tcPr anchor="ctr"/>
                </a:tc>
              </a:tr>
              <a:tr h="81000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e-DE" baseline="0" smtClean="0"/>
                        <a:t/>
                      </a:r>
                      <a:br>
                        <a:rPr lang="de-DE" baseline="0" smtClean="0"/>
                      </a:br>
                      <a:r>
                        <a:rPr lang="de-DE" baseline="0" smtClean="0"/>
                        <a:t>Above 0.94 g/cm</a:t>
                      </a:r>
                      <a:r>
                        <a:rPr lang="de-DE" sz="1800" kern="1200" baseline="30000" smtClean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3</a:t>
                      </a:r>
                      <a:endParaRPr lang="de-DE" sz="1800" kern="1200" smtClean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de-DE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1,3</a:t>
                      </a:r>
                      <a:endParaRPr lang="de-DE" b="1"/>
                    </a:p>
                  </a:txBody>
                  <a:tcPr anchor="ctr"/>
                </a:tc>
              </a:tr>
            </a:tbl>
          </a:graphicData>
        </a:graphic>
      </p:graphicFrame>
      <p:pic>
        <p:nvPicPr>
          <p:cNvPr id="5" name="Picture 8" descr="http://www.schule-bw.de/unterricht/faecher/physik/online_material/mechanik/druck/sinkenschwimmen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94618" y="0"/>
            <a:ext cx="1773382" cy="98565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274863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1987" name="Group 9"/>
          <p:cNvGrpSpPr>
            <a:grpSpLocks noChangeAspect="1"/>
          </p:cNvGrpSpPr>
          <p:nvPr/>
        </p:nvGrpSpPr>
        <p:grpSpPr bwMode="auto">
          <a:xfrm>
            <a:off x="6650575" y="2348057"/>
            <a:ext cx="3562204" cy="4790559"/>
            <a:chOff x="595" y="1733"/>
            <a:chExt cx="2703" cy="2786"/>
          </a:xfrm>
        </p:grpSpPr>
        <p:pic>
          <p:nvPicPr>
            <p:cNvPr id="41991" name="Picture 2"/>
            <p:cNvPicPr>
              <a:picLocks noChangeAspect="1" noChangeArrowheads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-300000">
              <a:off x="595" y="1733"/>
              <a:ext cx="1920" cy="2719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992" name="Picture 3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3" y="1740"/>
              <a:ext cx="1925" cy="2723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41993" name="Picture 4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 rot="300000">
              <a:off x="1376" y="1799"/>
              <a:ext cx="1922" cy="2720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  <p:sp>
        <p:nvSpPr>
          <p:cNvPr id="41988" name="Text Box 5"/>
          <p:cNvSpPr txBox="1">
            <a:spLocks noChangeAspect="1" noChangeArrowheads="1"/>
          </p:cNvSpPr>
          <p:nvPr/>
        </p:nvSpPr>
        <p:spPr bwMode="auto">
          <a:xfrm>
            <a:off x="840339" y="2873142"/>
            <a:ext cx="4912155" cy="3693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lvl1pPr algn="ctr" defTabSz="1039813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defTabSz="1039813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2pPr>
            <a:lvl3pPr marL="1039813" algn="ctr" defTabSz="1039813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defTabSz="1039813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defTabSz="1039813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defTabSz="1039813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defTabSz="1039813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defTabSz="1039813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defTabSz="1039813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r>
              <a:rPr lang="de-DE" sz="2000" b="1" dirty="0">
                <a:solidFill>
                  <a:srgbClr val="191919"/>
                </a:solidFill>
              </a:rPr>
              <a:t> 160 </a:t>
            </a:r>
            <a:r>
              <a:rPr lang="de-DE" sz="2000" b="1" dirty="0" err="1" smtClean="0">
                <a:solidFill>
                  <a:srgbClr val="191919"/>
                </a:solidFill>
              </a:rPr>
              <a:t>Meals</a:t>
            </a:r>
            <a:r>
              <a:rPr lang="de-DE" sz="2000" b="1" dirty="0" smtClean="0">
                <a:solidFill>
                  <a:srgbClr val="191919"/>
                </a:solidFill>
              </a:rPr>
              <a:t> per </a:t>
            </a:r>
            <a:r>
              <a:rPr lang="de-DE" sz="2000" b="1" dirty="0" err="1" smtClean="0">
                <a:solidFill>
                  <a:srgbClr val="191919"/>
                </a:solidFill>
              </a:rPr>
              <a:t>day</a:t>
            </a:r>
            <a:r>
              <a:rPr lang="de-DE" sz="2000" b="1" dirty="0">
                <a:solidFill>
                  <a:srgbClr val="191919"/>
                </a:solidFill>
              </a:rPr>
              <a:t/>
            </a:r>
            <a:br>
              <a:rPr lang="de-DE" sz="2000" b="1" dirty="0">
                <a:solidFill>
                  <a:srgbClr val="191919"/>
                </a:solidFill>
              </a:rPr>
            </a:br>
            <a:r>
              <a:rPr lang="de-DE" sz="2000" b="1" dirty="0">
                <a:solidFill>
                  <a:srgbClr val="191919"/>
                </a:solidFill>
              </a:rPr>
              <a:t>   	</a:t>
            </a:r>
            <a:endParaRPr lang="de-DE" sz="2000" dirty="0">
              <a:solidFill>
                <a:srgbClr val="191919"/>
              </a:solidFill>
            </a:endParaRPr>
          </a:p>
          <a:p>
            <a:pPr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r>
              <a:rPr lang="de-DE" sz="2000" b="1" dirty="0">
                <a:solidFill>
                  <a:srgbClr val="191919"/>
                </a:solidFill>
              </a:rPr>
              <a:t> 6 </a:t>
            </a:r>
            <a:r>
              <a:rPr lang="de-DE" sz="2000" b="1" dirty="0" err="1" smtClean="0">
                <a:solidFill>
                  <a:srgbClr val="191919"/>
                </a:solidFill>
              </a:rPr>
              <a:t>kitchen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operating</a:t>
            </a:r>
            <a:r>
              <a:rPr lang="de-DE" sz="2000" b="1" dirty="0" smtClean="0">
                <a:solidFill>
                  <a:srgbClr val="191919"/>
                </a:solidFill>
              </a:rPr>
              <a:t> time</a:t>
            </a:r>
            <a:endParaRPr lang="de-DE" sz="2000" b="1" dirty="0">
              <a:solidFill>
                <a:srgbClr val="191919"/>
              </a:solidFill>
            </a:endParaRPr>
          </a:p>
          <a:p>
            <a:pPr lvl="2"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endParaRPr lang="de-DE" sz="2000" dirty="0">
              <a:solidFill>
                <a:srgbClr val="191919"/>
              </a:solidFill>
            </a:endParaRPr>
          </a:p>
          <a:p>
            <a:pPr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r>
              <a:rPr lang="de-DE" sz="2000" b="1" dirty="0">
                <a:solidFill>
                  <a:srgbClr val="191919"/>
                </a:solidFill>
              </a:rPr>
              <a:t> </a:t>
            </a:r>
            <a:r>
              <a:rPr lang="de-DE" sz="2000" b="1" dirty="0" smtClean="0">
                <a:solidFill>
                  <a:srgbClr val="191919"/>
                </a:solidFill>
              </a:rPr>
              <a:t>Type </a:t>
            </a:r>
            <a:r>
              <a:rPr lang="de-DE" sz="2000" b="1" dirty="0" err="1" smtClean="0">
                <a:solidFill>
                  <a:srgbClr val="191919"/>
                </a:solidFill>
              </a:rPr>
              <a:t>of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kitchen</a:t>
            </a:r>
            <a:r>
              <a:rPr lang="de-DE" sz="2000" b="1" dirty="0" smtClean="0">
                <a:solidFill>
                  <a:srgbClr val="191919"/>
                </a:solidFill>
              </a:rPr>
              <a:t>: Hotel</a:t>
            </a:r>
            <a:r>
              <a:rPr lang="de-DE" sz="2000" b="1" dirty="0">
                <a:solidFill>
                  <a:srgbClr val="191919"/>
                </a:solidFill>
              </a:rPr>
              <a:t>	</a:t>
            </a:r>
          </a:p>
          <a:p>
            <a:pPr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endParaRPr lang="de-DE" sz="2000" dirty="0">
              <a:solidFill>
                <a:srgbClr val="191919"/>
              </a:solidFill>
            </a:endParaRPr>
          </a:p>
          <a:p>
            <a:pPr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r>
              <a:rPr lang="de-DE" sz="2000" b="1" dirty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Density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of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grease</a:t>
            </a:r>
            <a:r>
              <a:rPr lang="de-DE" sz="2000" b="1" dirty="0" smtClean="0">
                <a:solidFill>
                  <a:srgbClr val="191919"/>
                </a:solidFill>
              </a:rPr>
              <a:t>: &gt; 0,94 </a:t>
            </a:r>
            <a:r>
              <a:rPr lang="de-DE" sz="2000" b="1" dirty="0">
                <a:solidFill>
                  <a:srgbClr val="191919"/>
                </a:solidFill>
              </a:rPr>
              <a:t>g/cm³</a:t>
            </a:r>
          </a:p>
          <a:p>
            <a:pPr algn="l" eaLnBrk="1" hangingPunct="1">
              <a:buClr>
                <a:srgbClr val="E2001A"/>
              </a:buClr>
              <a:buSzPct val="100000"/>
            </a:pPr>
            <a:r>
              <a:rPr lang="de-DE" sz="2000" b="1" dirty="0">
                <a:solidFill>
                  <a:srgbClr val="191919"/>
                </a:solidFill>
              </a:rPr>
              <a:t>	</a:t>
            </a:r>
            <a:endParaRPr lang="de-DE" sz="2000" dirty="0">
              <a:solidFill>
                <a:srgbClr val="191919"/>
              </a:solidFill>
            </a:endParaRPr>
          </a:p>
          <a:p>
            <a:pPr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r>
              <a:rPr lang="de-DE" sz="2000" b="1" dirty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Inlet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temperature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>
                <a:solidFill>
                  <a:srgbClr val="191919"/>
                </a:solidFill>
              </a:rPr>
              <a:t>&lt; 60°C</a:t>
            </a:r>
            <a:br>
              <a:rPr lang="de-DE" sz="2000" b="1" dirty="0">
                <a:solidFill>
                  <a:srgbClr val="191919"/>
                </a:solidFill>
              </a:rPr>
            </a:br>
            <a:r>
              <a:rPr lang="de-DE" sz="2000" b="1" dirty="0">
                <a:solidFill>
                  <a:srgbClr val="191919"/>
                </a:solidFill>
              </a:rPr>
              <a:t>	</a:t>
            </a:r>
            <a:endParaRPr lang="de-DE" sz="2000" dirty="0">
              <a:solidFill>
                <a:srgbClr val="191919"/>
              </a:solidFill>
            </a:endParaRPr>
          </a:p>
          <a:p>
            <a:pPr algn="l" eaLnBrk="1" hangingPunct="1">
              <a:buClr>
                <a:srgbClr val="E2001A"/>
              </a:buClr>
              <a:buSzPct val="100000"/>
              <a:buFont typeface="Wingdings" pitchFamily="2" charset="2"/>
              <a:buChar char="§"/>
            </a:pPr>
            <a:r>
              <a:rPr lang="de-DE" sz="2000" b="1" dirty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Use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of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cleaning</a:t>
            </a:r>
            <a:r>
              <a:rPr lang="de-DE" sz="2000" b="1" dirty="0" smtClean="0">
                <a:solidFill>
                  <a:srgbClr val="191919"/>
                </a:solidFill>
              </a:rPr>
              <a:t> </a:t>
            </a:r>
            <a:r>
              <a:rPr lang="de-DE" sz="2000" b="1" dirty="0" err="1" smtClean="0">
                <a:solidFill>
                  <a:srgbClr val="191919"/>
                </a:solidFill>
              </a:rPr>
              <a:t>agents</a:t>
            </a:r>
            <a:r>
              <a:rPr lang="de-DE" sz="2000" b="1" dirty="0" smtClean="0">
                <a:solidFill>
                  <a:srgbClr val="191919"/>
                </a:solidFill>
              </a:rPr>
              <a:t>: </a:t>
            </a:r>
            <a:r>
              <a:rPr lang="de-DE" sz="2000" b="1" dirty="0" err="1" smtClean="0">
                <a:solidFill>
                  <a:srgbClr val="191919"/>
                </a:solidFill>
              </a:rPr>
              <a:t>yes</a:t>
            </a:r>
            <a:r>
              <a:rPr lang="de-DE" sz="2000" b="1" dirty="0">
                <a:solidFill>
                  <a:srgbClr val="191919"/>
                </a:solidFill>
              </a:rPr>
              <a:t/>
            </a:r>
            <a:br>
              <a:rPr lang="de-DE" sz="2000" b="1" dirty="0">
                <a:solidFill>
                  <a:srgbClr val="191919"/>
                </a:solidFill>
              </a:rPr>
            </a:br>
            <a:r>
              <a:rPr lang="de-DE" sz="2000" b="1" dirty="0">
                <a:solidFill>
                  <a:srgbClr val="191919"/>
                </a:solidFill>
              </a:rPr>
              <a:t>	</a:t>
            </a:r>
          </a:p>
        </p:txBody>
      </p:sp>
      <p:grpSp>
        <p:nvGrpSpPr>
          <p:cNvPr id="43" name="Gruppieren 42"/>
          <p:cNvGrpSpPr>
            <a:grpSpLocks noChangeAspect="1"/>
          </p:cNvGrpSpPr>
          <p:nvPr/>
        </p:nvGrpSpPr>
        <p:grpSpPr>
          <a:xfrm>
            <a:off x="819374" y="1507922"/>
            <a:ext cx="3693249" cy="612563"/>
            <a:chOff x="148403" y="259210"/>
            <a:chExt cx="5572414" cy="647994"/>
          </a:xfrm>
          <a:solidFill>
            <a:srgbClr val="5F5F5F"/>
          </a:solidFill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44" name="Abgerundetes Rechteck 43"/>
            <p:cNvSpPr/>
            <p:nvPr/>
          </p:nvSpPr>
          <p:spPr>
            <a:xfrm>
              <a:off x="148403" y="259210"/>
              <a:ext cx="5572414" cy="647994"/>
            </a:xfrm>
            <a:prstGeom prst="roundRect">
              <a:avLst/>
            </a:prstGeom>
            <a:grpFill/>
            <a:ln w="0">
              <a:noFill/>
            </a:ln>
            <a:effectLst>
              <a:glow>
                <a:schemeClr val="accent3">
                  <a:satMod val="175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  <a:reflection endPos="0" dir="5400000" sy="-100000" algn="bl" rotWithShape="0"/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</p:sp>
        <p:sp>
          <p:nvSpPr>
            <p:cNvPr id="45" name="Abgerundetes Rechteck 4"/>
            <p:cNvSpPr/>
            <p:nvPr/>
          </p:nvSpPr>
          <p:spPr>
            <a:xfrm>
              <a:off x="180035" y="290842"/>
              <a:ext cx="5509150" cy="584730"/>
            </a:xfrm>
            <a:prstGeom prst="rect">
              <a:avLst/>
            </a:prstGeom>
            <a:grpFill/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08000" tIns="75600" rIns="108000" bIns="75600" spcCol="1270" anchor="ctr"/>
            <a:lstStyle/>
            <a:p>
              <a:pPr defTabSz="622389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Example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: </a:t>
              </a:r>
              <a:r>
                <a:rPr lang="de-DE" sz="2000" b="1" dirty="0" err="1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M</a:t>
              </a: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eals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per </a:t>
              </a: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day</a:t>
              </a:r>
              <a:endParaRPr lang="de-DE" sz="2000" b="1" dirty="0">
                <a:ln w="3175">
                  <a:noFill/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41990" name="Rectangle 3"/>
          <p:cNvSpPr txBox="1">
            <a:spLocks noChangeArrowheads="1"/>
          </p:cNvSpPr>
          <p:nvPr/>
        </p:nvSpPr>
        <p:spPr bwMode="auto">
          <a:xfrm>
            <a:off x="2562605" y="424882"/>
            <a:ext cx="6257893" cy="394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lnSpc>
                <a:spcPct val="110000"/>
              </a:lnSpc>
              <a:spcAft>
                <a:spcPts val="3430"/>
              </a:spcAft>
              <a:buClr>
                <a:schemeClr val="accent2"/>
              </a:buClr>
            </a:pPr>
            <a:r>
              <a:rPr lang="de-DE" sz="2100" b="1" dirty="0" err="1" smtClean="0"/>
              <a:t>Dimensioning</a:t>
            </a:r>
            <a:r>
              <a:rPr lang="de-DE" sz="2100" b="1" dirty="0" smtClean="0"/>
              <a:t> </a:t>
            </a:r>
            <a:r>
              <a:rPr lang="de-DE" sz="2100" b="1" dirty="0" err="1" smtClean="0"/>
              <a:t>according</a:t>
            </a:r>
            <a:r>
              <a:rPr lang="de-DE" sz="2100" b="1" dirty="0" smtClean="0"/>
              <a:t> </a:t>
            </a:r>
            <a:r>
              <a:rPr lang="de-DE" sz="2100" b="1" dirty="0" err="1" smtClean="0"/>
              <a:t>to</a:t>
            </a:r>
            <a:r>
              <a:rPr lang="de-DE" sz="2100" b="1" dirty="0" smtClean="0"/>
              <a:t> EN 1825</a:t>
            </a:r>
            <a:endParaRPr lang="de-DE" sz="2100" b="1" dirty="0"/>
          </a:p>
        </p:txBody>
      </p:sp>
    </p:spTree>
    <p:extLst>
      <p:ext uri="{BB962C8B-B14F-4D97-AF65-F5344CB8AC3E}">
        <p14:creationId xmlns:p14="http://schemas.microsoft.com/office/powerpoint/2010/main" val="403330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>
            <a:grpSpLocks noChangeAspect="1"/>
          </p:cNvGrpSpPr>
          <p:nvPr/>
        </p:nvGrpSpPr>
        <p:grpSpPr>
          <a:xfrm>
            <a:off x="888623" y="1478203"/>
            <a:ext cx="2576969" cy="612563"/>
            <a:chOff x="148403" y="259210"/>
            <a:chExt cx="5572414" cy="647994"/>
          </a:xfrm>
          <a:solidFill>
            <a:srgbClr val="5F5F5F"/>
          </a:solidFill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" name="Abgerundetes Rechteck 6"/>
            <p:cNvSpPr/>
            <p:nvPr/>
          </p:nvSpPr>
          <p:spPr>
            <a:xfrm>
              <a:off x="148403" y="259210"/>
              <a:ext cx="5572414" cy="647994"/>
            </a:xfrm>
            <a:prstGeom prst="roundRect">
              <a:avLst/>
            </a:prstGeom>
            <a:grpFill/>
            <a:ln w="0">
              <a:noFill/>
            </a:ln>
            <a:effectLst>
              <a:glow>
                <a:schemeClr val="accent3">
                  <a:satMod val="175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  <a:reflection endPos="0" dir="5400000" sy="-100000" algn="bl" rotWithShape="0"/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</p:sp>
        <p:sp>
          <p:nvSpPr>
            <p:cNvPr id="8" name="Abgerundetes Rechteck 4"/>
            <p:cNvSpPr/>
            <p:nvPr/>
          </p:nvSpPr>
          <p:spPr>
            <a:xfrm>
              <a:off x="180035" y="290842"/>
              <a:ext cx="5509150" cy="584730"/>
            </a:xfrm>
            <a:prstGeom prst="rect">
              <a:avLst/>
            </a:prstGeom>
            <a:grpFill/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08000" tIns="75600" rIns="108000" bIns="75600" spcCol="1270" anchor="ctr"/>
            <a:lstStyle/>
            <a:p>
              <a:pPr defTabSz="622389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Useful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</a:t>
              </a:r>
              <a:r>
                <a:rPr lang="de-DE" sz="2000" b="1" dirty="0" err="1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R</a:t>
              </a: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emarks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:</a:t>
              </a:r>
              <a:endParaRPr lang="de-DE" sz="2000" b="1" dirty="0">
                <a:ln w="3175">
                  <a:noFill/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2562605" y="424882"/>
            <a:ext cx="6257893" cy="394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lnSpc>
                <a:spcPct val="110000"/>
              </a:lnSpc>
              <a:spcAft>
                <a:spcPts val="3430"/>
              </a:spcAft>
              <a:buClr>
                <a:schemeClr val="accent2"/>
              </a:buClr>
            </a:pPr>
            <a:r>
              <a:rPr lang="de-DE" sz="2100" b="1" dirty="0" smtClean="0"/>
              <a:t>Further Information</a:t>
            </a:r>
            <a:endParaRPr lang="de-DE" sz="2100" b="1" dirty="0"/>
          </a:p>
        </p:txBody>
      </p:sp>
      <p:sp>
        <p:nvSpPr>
          <p:cNvPr id="2" name="Textfeld 1"/>
          <p:cNvSpPr txBox="1"/>
          <p:nvPr/>
        </p:nvSpPr>
        <p:spPr>
          <a:xfrm>
            <a:off x="201998" y="5990265"/>
            <a:ext cx="560142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Clr>
                <a:srgbClr val="FF0000"/>
              </a:buClr>
            </a:pPr>
            <a:r>
              <a:rPr lang="de-DE" sz="1800" dirty="0" err="1">
                <a:latin typeface="+mn-lt"/>
              </a:rPr>
              <a:t>N</a:t>
            </a:r>
            <a:r>
              <a:rPr lang="de-DE" sz="1800" dirty="0" err="1" smtClean="0">
                <a:latin typeface="+mn-lt"/>
              </a:rPr>
              <a:t>o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information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about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the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meals</a:t>
            </a:r>
            <a:r>
              <a:rPr lang="de-DE" sz="1800" dirty="0" smtClean="0">
                <a:latin typeface="+mn-lt"/>
              </a:rPr>
              <a:t> per </a:t>
            </a:r>
            <a:r>
              <a:rPr lang="de-DE" sz="1800" dirty="0" err="1" smtClean="0">
                <a:latin typeface="+mn-lt"/>
              </a:rPr>
              <a:t>day</a:t>
            </a:r>
            <a:r>
              <a:rPr lang="de-DE" sz="1800" dirty="0" smtClean="0">
                <a:latin typeface="+mn-lt"/>
              </a:rPr>
              <a:t> ?</a:t>
            </a:r>
            <a:endParaRPr lang="de-DE" sz="1800" dirty="0">
              <a:latin typeface="+mn-lt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803418" y="5990265"/>
            <a:ext cx="475374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de-DE" sz="1800" dirty="0" err="1" smtClean="0">
                <a:latin typeface="+mj-lt"/>
              </a:rPr>
              <a:t>Maybe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you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can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get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some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information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about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the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amount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of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seats</a:t>
            </a:r>
            <a:r>
              <a:rPr lang="de-DE" sz="1800" dirty="0" smtClean="0">
                <a:latin typeface="+mj-lt"/>
              </a:rPr>
              <a:t> !</a:t>
            </a:r>
            <a:endParaRPr lang="de-DE" sz="1800" dirty="0">
              <a:latin typeface="+mj-lt"/>
            </a:endParaRPr>
          </a:p>
        </p:txBody>
      </p:sp>
      <p:pic>
        <p:nvPicPr>
          <p:cNvPr id="13" name="Picture 14" descr="bodenseebrate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8623" y="2812136"/>
            <a:ext cx="3347963" cy="271476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50" name="Picture 2" descr="http://www.dorint-tagung.com/uploads/pics/Frankfurt-Restaurant-036-Bearbeitet_02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67169" y="2812136"/>
            <a:ext cx="3667482" cy="274217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8043725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6" name="Gruppieren 5"/>
          <p:cNvGrpSpPr>
            <a:grpSpLocks noChangeAspect="1"/>
          </p:cNvGrpSpPr>
          <p:nvPr/>
        </p:nvGrpSpPr>
        <p:grpSpPr>
          <a:xfrm>
            <a:off x="888623" y="1478203"/>
            <a:ext cx="2576969" cy="612563"/>
            <a:chOff x="148403" y="259210"/>
            <a:chExt cx="5572414" cy="647994"/>
          </a:xfrm>
          <a:solidFill>
            <a:srgbClr val="5F5F5F"/>
          </a:solidFill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7" name="Abgerundetes Rechteck 6"/>
            <p:cNvSpPr/>
            <p:nvPr/>
          </p:nvSpPr>
          <p:spPr>
            <a:xfrm>
              <a:off x="148403" y="259210"/>
              <a:ext cx="5572414" cy="647994"/>
            </a:xfrm>
            <a:prstGeom prst="roundRect">
              <a:avLst/>
            </a:prstGeom>
            <a:grpFill/>
            <a:ln w="0">
              <a:noFill/>
            </a:ln>
            <a:effectLst>
              <a:glow>
                <a:schemeClr val="accent3">
                  <a:satMod val="175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  <a:reflection endPos="0" dir="5400000" sy="-100000" algn="bl" rotWithShape="0"/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</p:sp>
        <p:sp>
          <p:nvSpPr>
            <p:cNvPr id="8" name="Abgerundetes Rechteck 4"/>
            <p:cNvSpPr/>
            <p:nvPr/>
          </p:nvSpPr>
          <p:spPr>
            <a:xfrm>
              <a:off x="180035" y="290842"/>
              <a:ext cx="5509150" cy="584730"/>
            </a:xfrm>
            <a:prstGeom prst="rect">
              <a:avLst/>
            </a:prstGeom>
            <a:grpFill/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08000" tIns="75600" rIns="108000" bIns="75600" spcCol="1270" anchor="ctr"/>
            <a:lstStyle/>
            <a:p>
              <a:pPr defTabSz="622389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Useful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</a:t>
              </a:r>
              <a:r>
                <a:rPr lang="de-DE" sz="2000" b="1" dirty="0" err="1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R</a:t>
              </a: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emarks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:</a:t>
              </a:r>
              <a:endParaRPr lang="de-DE" sz="2000" b="1" dirty="0">
                <a:ln w="3175">
                  <a:noFill/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9" name="Rectangle 3"/>
          <p:cNvSpPr txBox="1">
            <a:spLocks noChangeArrowheads="1"/>
          </p:cNvSpPr>
          <p:nvPr/>
        </p:nvSpPr>
        <p:spPr bwMode="auto">
          <a:xfrm>
            <a:off x="2562605" y="424882"/>
            <a:ext cx="6257893" cy="394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lnSpc>
                <a:spcPct val="110000"/>
              </a:lnSpc>
              <a:spcAft>
                <a:spcPts val="3430"/>
              </a:spcAft>
              <a:buClr>
                <a:schemeClr val="accent2"/>
              </a:buClr>
            </a:pPr>
            <a:r>
              <a:rPr lang="de-DE" sz="2100" b="1" dirty="0" smtClean="0"/>
              <a:t>Further Information</a:t>
            </a:r>
            <a:endParaRPr lang="de-DE" sz="2100" b="1" dirty="0"/>
          </a:p>
        </p:txBody>
      </p:sp>
      <p:sp>
        <p:nvSpPr>
          <p:cNvPr id="2" name="Textfeld 1"/>
          <p:cNvSpPr txBox="1"/>
          <p:nvPr/>
        </p:nvSpPr>
        <p:spPr>
          <a:xfrm>
            <a:off x="-92745" y="5990265"/>
            <a:ext cx="59850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de-DE" sz="1800" dirty="0" err="1">
                <a:latin typeface="+mn-lt"/>
              </a:rPr>
              <a:t>N</a:t>
            </a:r>
            <a:r>
              <a:rPr lang="de-DE" sz="1800" dirty="0" err="1" smtClean="0">
                <a:latin typeface="+mn-lt"/>
              </a:rPr>
              <a:t>o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information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about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the</a:t>
            </a:r>
            <a:r>
              <a:rPr lang="de-DE" sz="1800" dirty="0" smtClean="0">
                <a:latin typeface="+mn-lt"/>
              </a:rPr>
              <a:t> </a:t>
            </a:r>
          </a:p>
          <a:p>
            <a:pPr algn="ctr">
              <a:buClr>
                <a:srgbClr val="FF0000"/>
              </a:buClr>
            </a:pPr>
            <a:r>
              <a:rPr lang="de-DE" sz="1800" dirty="0" err="1" smtClean="0">
                <a:latin typeface="+mn-lt"/>
              </a:rPr>
              <a:t>density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of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the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grease</a:t>
            </a:r>
            <a:r>
              <a:rPr lang="de-DE" sz="1800" dirty="0" smtClean="0">
                <a:latin typeface="+mn-lt"/>
              </a:rPr>
              <a:t> ?</a:t>
            </a:r>
            <a:endParaRPr lang="de-DE" sz="1800" dirty="0">
              <a:latin typeface="+mn-lt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5803418" y="5990265"/>
            <a:ext cx="475374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buClr>
                <a:srgbClr val="FF0000"/>
              </a:buClr>
            </a:pPr>
            <a:r>
              <a:rPr lang="de-DE" sz="1800" dirty="0" smtClean="0">
                <a:latin typeface="+mn-lt"/>
              </a:rPr>
              <a:t>EN </a:t>
            </a:r>
            <a:r>
              <a:rPr lang="de-DE" sz="1800" dirty="0">
                <a:latin typeface="+mn-lt"/>
              </a:rPr>
              <a:t>1825-2 </a:t>
            </a:r>
            <a:r>
              <a:rPr lang="de-DE" sz="1800" dirty="0" err="1">
                <a:latin typeface="+mn-lt"/>
              </a:rPr>
              <a:t>appendix</a:t>
            </a:r>
            <a:r>
              <a:rPr lang="de-DE" sz="1800" dirty="0">
                <a:latin typeface="+mn-lt"/>
              </a:rPr>
              <a:t> B </a:t>
            </a:r>
            <a:r>
              <a:rPr lang="de-DE" sz="1800" dirty="0" err="1">
                <a:latin typeface="+mn-lt"/>
              </a:rPr>
              <a:t>includes</a:t>
            </a:r>
            <a:r>
              <a:rPr lang="de-DE" sz="1800" dirty="0">
                <a:latin typeface="+mn-lt"/>
              </a:rPr>
              <a:t> </a:t>
            </a:r>
            <a:r>
              <a:rPr lang="de-DE" sz="1800" dirty="0" err="1">
                <a:latin typeface="+mn-lt"/>
              </a:rPr>
              <a:t>table</a:t>
            </a:r>
            <a:r>
              <a:rPr lang="de-DE" sz="1800" dirty="0">
                <a:latin typeface="+mn-lt"/>
              </a:rPr>
              <a:t> </a:t>
            </a:r>
            <a:r>
              <a:rPr lang="de-DE" sz="1800" dirty="0" err="1">
                <a:latin typeface="+mn-lt"/>
              </a:rPr>
              <a:t>with</a:t>
            </a:r>
            <a:r>
              <a:rPr lang="de-DE" sz="1800" dirty="0">
                <a:latin typeface="+mn-lt"/>
              </a:rPr>
              <a:t> </a:t>
            </a:r>
            <a:r>
              <a:rPr lang="de-DE" sz="1800" dirty="0" err="1" smtClean="0">
                <a:latin typeface="+mn-lt"/>
              </a:rPr>
              <a:t>density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>
                <a:latin typeface="+mn-lt"/>
              </a:rPr>
              <a:t>values</a:t>
            </a:r>
            <a:r>
              <a:rPr lang="de-DE" sz="1800" dirty="0">
                <a:latin typeface="+mn-lt"/>
              </a:rPr>
              <a:t> </a:t>
            </a:r>
            <a:r>
              <a:rPr lang="de-DE" sz="1800" dirty="0" err="1">
                <a:latin typeface="+mn-lt"/>
              </a:rPr>
              <a:t>of</a:t>
            </a:r>
            <a:r>
              <a:rPr lang="de-DE" sz="1800" dirty="0">
                <a:latin typeface="+mn-lt"/>
              </a:rPr>
              <a:t> </a:t>
            </a:r>
            <a:r>
              <a:rPr lang="de-DE" sz="1800" dirty="0" err="1">
                <a:latin typeface="+mn-lt"/>
              </a:rPr>
              <a:t>selected</a:t>
            </a:r>
            <a:r>
              <a:rPr lang="de-DE" sz="1800" dirty="0">
                <a:latin typeface="+mn-lt"/>
              </a:rPr>
              <a:t> </a:t>
            </a:r>
            <a:r>
              <a:rPr lang="de-DE" sz="1800" dirty="0" err="1">
                <a:latin typeface="+mn-lt"/>
              </a:rPr>
              <a:t>fats</a:t>
            </a:r>
            <a:r>
              <a:rPr lang="de-DE" sz="1800" dirty="0">
                <a:latin typeface="+mn-lt"/>
              </a:rPr>
              <a:t> </a:t>
            </a:r>
            <a:endParaRPr lang="de-DE" sz="1800" dirty="0" smtClean="0">
              <a:latin typeface="+mn-lt"/>
            </a:endParaRPr>
          </a:p>
          <a:p>
            <a:pPr algn="ctr">
              <a:buClr>
                <a:srgbClr val="FF0000"/>
              </a:buClr>
            </a:pPr>
            <a:r>
              <a:rPr lang="de-DE" sz="1800" dirty="0" err="1" smtClean="0">
                <a:latin typeface="+mn-lt"/>
              </a:rPr>
              <a:t>and</a:t>
            </a:r>
            <a:r>
              <a:rPr lang="de-DE" sz="1800" dirty="0" smtClean="0">
                <a:latin typeface="+mn-lt"/>
              </a:rPr>
              <a:t> </a:t>
            </a:r>
            <a:r>
              <a:rPr lang="de-DE" sz="1800" dirty="0" err="1">
                <a:latin typeface="+mn-lt"/>
              </a:rPr>
              <a:t>oils</a:t>
            </a:r>
            <a:r>
              <a:rPr lang="de-DE" sz="1800" dirty="0">
                <a:latin typeface="+mn-lt"/>
              </a:rPr>
              <a:t>.</a:t>
            </a:r>
          </a:p>
          <a:p>
            <a:pPr algn="ctr">
              <a:buClr>
                <a:srgbClr val="FF0000"/>
              </a:buClr>
            </a:pPr>
            <a:endParaRPr lang="de-DE" sz="1800" dirty="0">
              <a:latin typeface="+mj-lt"/>
            </a:endParaRPr>
          </a:p>
        </p:txBody>
      </p:sp>
      <p:pic>
        <p:nvPicPr>
          <p:cNvPr id="10" name="Picture 8" descr="http://www.schule-bw.de/unterricht/faecher/physik/online_material/mechanik/druck/sinkenschwimmen1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621" y="2923906"/>
            <a:ext cx="4022317" cy="263040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2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268"/>
          <a:stretch/>
        </p:blipFill>
        <p:spPr bwMode="auto">
          <a:xfrm>
            <a:off x="5490813" y="2923906"/>
            <a:ext cx="5066351" cy="2630401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987534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smtClean="0">
                <a:solidFill>
                  <a:srgbClr val="000000"/>
                </a:solidFill>
              </a:rPr>
            </a:br>
            <a:r>
              <a:rPr 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717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/>
          <a:p>
            <a:endParaRPr lang="de-DE"/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1609725" y="2260600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4000" b="1" dirty="0" smtClean="0">
                <a:solidFill>
                  <a:schemeClr val="bg1"/>
                </a:solidFill>
              </a:rPr>
              <a:t>2.) </a:t>
            </a:r>
            <a:r>
              <a:rPr lang="de-DE" sz="4000" b="1" dirty="0" err="1" smtClean="0">
                <a:solidFill>
                  <a:schemeClr val="bg1"/>
                </a:solidFill>
              </a:rPr>
              <a:t>Sizing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according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to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kitchen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equipment</a:t>
            </a:r>
            <a:endParaRPr lang="de-DE" sz="4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34778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12" descr="versorgung_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600" y="3167100"/>
            <a:ext cx="2921000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71842" name="Rectangle 2"/>
          <p:cNvSpPr>
            <a:spLocks noChangeArrowheads="1"/>
          </p:cNvSpPr>
          <p:nvPr/>
        </p:nvSpPr>
        <p:spPr bwMode="auto">
          <a:xfrm>
            <a:off x="4009300" y="2087100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/>
          <a:p>
            <a:pPr marL="1588" lvl="1" defTabSz="1054100">
              <a:lnSpc>
                <a:spcPts val="2200"/>
              </a:lnSpc>
              <a:buClr>
                <a:schemeClr val="tx1"/>
              </a:buClr>
              <a:buSzPct val="90000"/>
              <a:buFont typeface="StoneSans-Bold" pitchFamily="2" charset="0"/>
              <a:buNone/>
            </a:pPr>
            <a:endParaRPr lang="de-DE" sz="1600" b="1"/>
          </a:p>
        </p:txBody>
      </p:sp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r>
              <a:rPr lang="de-DE" err="1" smtClean="0"/>
              <a:t>Dimensioning</a:t>
            </a:r>
            <a:r>
              <a:rPr lang="de-DE" smtClean="0"/>
              <a:t> according kitchen equipment</a:t>
            </a:r>
            <a:endParaRPr lang="de-DE" dirty="0"/>
          </a:p>
        </p:txBody>
      </p:sp>
      <p:sp>
        <p:nvSpPr>
          <p:cNvPr id="13" name="Text Box 19"/>
          <p:cNvSpPr txBox="1">
            <a:spLocks noChangeArrowheads="1"/>
          </p:cNvSpPr>
          <p:nvPr/>
        </p:nvSpPr>
        <p:spPr bwMode="auto">
          <a:xfrm>
            <a:off x="4686000" y="3943218"/>
            <a:ext cx="5599000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r>
              <a:rPr lang="de-DE" sz="1600" b="1" smtClean="0">
                <a:solidFill>
                  <a:schemeClr val="tx1"/>
                </a:solidFill>
              </a:rPr>
              <a:t>Type of equipment</a:t>
            </a:r>
          </a:p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endParaRPr lang="de-DE" sz="1600" b="1">
              <a:solidFill>
                <a:schemeClr val="tx1"/>
              </a:solidFill>
            </a:endParaRPr>
          </a:p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r>
              <a:rPr lang="de-DE" sz="1600" b="1" smtClean="0">
                <a:solidFill>
                  <a:schemeClr val="tx1"/>
                </a:solidFill>
              </a:rPr>
              <a:t>Quantity of each specific equipment</a:t>
            </a:r>
          </a:p>
        </p:txBody>
      </p:sp>
      <p:sp>
        <p:nvSpPr>
          <p:cNvPr id="14" name="Rectangle 4"/>
          <p:cNvSpPr txBox="1">
            <a:spLocks noChangeArrowheads="1"/>
          </p:cNvSpPr>
          <p:nvPr/>
        </p:nvSpPr>
        <p:spPr bwMode="auto">
          <a:xfrm>
            <a:off x="4717223" y="2602347"/>
            <a:ext cx="21023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Factors:</a:t>
            </a:r>
            <a:endParaRPr lang="de-DE" kern="0" dirty="0"/>
          </a:p>
        </p:txBody>
      </p:sp>
      <p:cxnSp>
        <p:nvCxnSpPr>
          <p:cNvPr id="5" name="Gerade Verbindung 4"/>
          <p:cNvCxnSpPr/>
          <p:nvPr/>
        </p:nvCxnSpPr>
        <p:spPr bwMode="auto">
          <a:xfrm>
            <a:off x="4717223" y="3339900"/>
            <a:ext cx="363547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485753763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1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718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718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71842" grpId="0" autoUpdateAnimBg="0"/>
      <p:bldP spid="13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6" name="Picture 2" descr="http://173.254.78.28/~charlit0/wp-content/uploads/2011/03/ElectricTiltingBraisingPan-16gallons.jpg">
            <a:hlinkClick r:id="rId2"/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79600" y="3205299"/>
            <a:ext cx="1688682" cy="218341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8105775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smtClean="0"/>
              <a:t>Dimensioning according to kitchen equipment</a:t>
            </a:r>
          </a:p>
        </p:txBody>
      </p:sp>
      <p:pic>
        <p:nvPicPr>
          <p:cNvPr id="18438" name="Picture 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425" y="2778300"/>
            <a:ext cx="57150" cy="1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3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189" y="3367036"/>
            <a:ext cx="57150" cy="1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8" name="Picture 4" descr="http://www.empiresuppliesonline.co.uk/ekmps/shops/empiresupplies/images/1.6m-commercial-stainless-steel-lhd-double-bowl-sink-156-p.jpg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5600" y="3824422"/>
            <a:ext cx="1955580" cy="131023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6" descr="http://www.professionallaundryequipment.co.uk/uploads/images/Products/G8060_dishwasher_1.jpg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72443" y="3433061"/>
            <a:ext cx="1586357" cy="186036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1" name="Picture 12" descr="http://www.7day-chef.com/media/catalog/product/cache/1/image/9df78eab33525d08d6e5fb8d27136e95/e/a/easybaskett_1_1_1_1_1_1_1_1_1.jpg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9200" y="3367036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2" descr="versorgung_03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38470" y="0"/>
            <a:ext cx="1232812" cy="99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5358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EN 1825 defines qi value and factors for simultanous operation:</a:t>
            </a:r>
            <a:endParaRPr lang="de-DE" kern="0" dirty="0"/>
          </a:p>
        </p:txBody>
      </p:sp>
      <p:graphicFrame>
        <p:nvGraphicFramePr>
          <p:cNvPr id="19" name="Tabelle 1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58305737"/>
              </p:ext>
            </p:extLst>
          </p:nvPr>
        </p:nvGraphicFramePr>
        <p:xfrm>
          <a:off x="366000" y="3167100"/>
          <a:ext cx="9806400" cy="32832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451600"/>
                <a:gridCol w="2451600"/>
                <a:gridCol w="2451600"/>
                <a:gridCol w="2451600"/>
              </a:tblGrid>
              <a:tr h="2353036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e-DE" sz="1800" b="1" kern="1200" smtClean="0">
                        <a:solidFill>
                          <a:schemeClr val="lt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noFill/>
                  </a:tcPr>
                </a:tc>
              </a:tr>
              <a:tr h="930164"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Rinse</a:t>
                      </a:r>
                      <a:r>
                        <a:rPr lang="de-DE" b="1" baseline="0" smtClean="0"/>
                        <a:t> sink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Dish washer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Tilting frying pans</a:t>
                      </a:r>
                      <a:endParaRPr lang="de-DE" b="1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b="1" smtClean="0"/>
                        <a:t>Tilting boiling pans</a:t>
                      </a:r>
                      <a:endParaRPr lang="de-DE" b="1"/>
                    </a:p>
                  </a:txBody>
                  <a:tcPr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140632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2562225" y="366713"/>
            <a:ext cx="8105775" cy="790575"/>
          </a:xfrm>
        </p:spPr>
        <p:txBody>
          <a:bodyPr lIns="91398" tIns="45698" rIns="91398" bIns="45698" anchor="ctr"/>
          <a:lstStyle/>
          <a:p>
            <a:pPr eaLnBrk="1" hangingPunct="1"/>
            <a:r>
              <a:rPr lang="de-DE" smtClean="0"/>
              <a:t>Dimensioning according to kitchen equipment</a:t>
            </a:r>
          </a:p>
        </p:txBody>
      </p:sp>
      <p:pic>
        <p:nvPicPr>
          <p:cNvPr id="18438" name="Picture 2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05425" y="2778300"/>
            <a:ext cx="57150" cy="1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7" name="Picture 2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42189" y="3367036"/>
            <a:ext cx="57150" cy="190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17" name="Picture 12" descr="versorgung_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438470" y="0"/>
            <a:ext cx="1232812" cy="9996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Rectangle 4"/>
          <p:cNvSpPr txBox="1">
            <a:spLocks noChangeArrowheads="1"/>
          </p:cNvSpPr>
          <p:nvPr/>
        </p:nvSpPr>
        <p:spPr bwMode="auto">
          <a:xfrm>
            <a:off x="495600" y="1655100"/>
            <a:ext cx="9535800" cy="517525"/>
          </a:xfrm>
          <a:prstGeom prst="rect">
            <a:avLst/>
          </a:prstGeom>
          <a:solidFill>
            <a:srgbClr val="FFFF00"/>
          </a:solidFill>
          <a:ln>
            <a:noFill/>
          </a:ln>
          <a:ex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Example: Tilting boiling pan, outlet with 100 mm, 4 items</a:t>
            </a:r>
            <a:endParaRPr lang="de-DE" kern="0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700" y="3210300"/>
            <a:ext cx="9315450" cy="304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" name="Picture 12" descr="http://www.7day-chef.com/media/catalog/product/cache/1/image/9df78eab33525d08d6e5fb8d27136e95/e/a/easybaskett_1_1_1_1_1_1_1_1_1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42600" y="1352700"/>
            <a:ext cx="1905000" cy="1905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/>
        </p:nvSpPr>
        <p:spPr bwMode="auto">
          <a:xfrm>
            <a:off x="495600" y="5799600"/>
            <a:ext cx="9467550" cy="388800"/>
          </a:xfrm>
          <a:prstGeom prst="rect">
            <a:avLst/>
          </a:prstGeom>
          <a:noFill/>
          <a:ln w="444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14" name="Rechteck 13"/>
          <p:cNvSpPr/>
          <p:nvPr/>
        </p:nvSpPr>
        <p:spPr bwMode="auto">
          <a:xfrm>
            <a:off x="8142000" y="3757700"/>
            <a:ext cx="858000" cy="2528400"/>
          </a:xfrm>
          <a:prstGeom prst="rect">
            <a:avLst/>
          </a:prstGeom>
          <a:noFill/>
          <a:ln w="44450" cap="flat" cmpd="sng" algn="ctr">
            <a:solidFill>
              <a:schemeClr val="accent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" name="Rechteck 2"/>
          <p:cNvSpPr/>
          <p:nvPr/>
        </p:nvSpPr>
        <p:spPr bwMode="auto">
          <a:xfrm>
            <a:off x="8142000" y="5799600"/>
            <a:ext cx="858000" cy="388800"/>
          </a:xfrm>
          <a:prstGeom prst="rect">
            <a:avLst/>
          </a:prstGeom>
          <a:solidFill>
            <a:schemeClr val="accent1">
              <a:alpha val="27000"/>
            </a:schemeClr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80400" y="6326975"/>
            <a:ext cx="1943100" cy="9715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Textfeld 3"/>
          <p:cNvSpPr txBox="1"/>
          <p:nvPr/>
        </p:nvSpPr>
        <p:spPr>
          <a:xfrm>
            <a:off x="4123500" y="6666300"/>
            <a:ext cx="3284100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b="1" smtClean="0"/>
              <a:t>= 2,52 l/s </a:t>
            </a:r>
            <a:endParaRPr lang="de-DE" b="1"/>
          </a:p>
        </p:txBody>
      </p:sp>
    </p:spTree>
    <p:extLst>
      <p:ext uri="{BB962C8B-B14F-4D97-AF65-F5344CB8AC3E}">
        <p14:creationId xmlns:p14="http://schemas.microsoft.com/office/powerpoint/2010/main" val="3735861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smtClean="0">
                <a:solidFill>
                  <a:srgbClr val="000000"/>
                </a:solidFill>
              </a:rPr>
            </a:br>
            <a:r>
              <a:rPr 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717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/>
          <a:p>
            <a:endParaRPr lang="de-DE"/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1609725" y="2260600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endParaRPr lang="de-DE" sz="4000" b="1" dirty="0" smtClean="0">
              <a:solidFill>
                <a:schemeClr val="bg1"/>
              </a:solidFill>
            </a:endParaRPr>
          </a:p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4000" b="1" dirty="0" err="1" smtClean="0">
                <a:solidFill>
                  <a:schemeClr val="bg1"/>
                </a:solidFill>
              </a:rPr>
              <a:t>Selection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of</a:t>
            </a:r>
            <a:r>
              <a:rPr lang="de-DE" sz="4000" b="1" dirty="0" smtClean="0">
                <a:solidFill>
                  <a:schemeClr val="bg1"/>
                </a:solidFill>
              </a:rPr>
              <a:t> Nominal Sizes (NS)</a:t>
            </a:r>
            <a:endParaRPr lang="de-DE" sz="4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920182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>
            <a:grpSpLocks noChangeAspect="1"/>
          </p:cNvGrpSpPr>
          <p:nvPr/>
        </p:nvGrpSpPr>
        <p:grpSpPr>
          <a:xfrm>
            <a:off x="888623" y="1478203"/>
            <a:ext cx="2899606" cy="612563"/>
            <a:chOff x="148403" y="259210"/>
            <a:chExt cx="5572414" cy="647994"/>
          </a:xfrm>
          <a:solidFill>
            <a:srgbClr val="5F5F5F"/>
          </a:solidFill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6" name="Abgerundetes Rechteck 5"/>
            <p:cNvSpPr/>
            <p:nvPr/>
          </p:nvSpPr>
          <p:spPr>
            <a:xfrm>
              <a:off x="148403" y="259210"/>
              <a:ext cx="5572414" cy="647994"/>
            </a:xfrm>
            <a:prstGeom prst="roundRect">
              <a:avLst/>
            </a:prstGeom>
            <a:grpFill/>
            <a:ln w="0">
              <a:noFill/>
            </a:ln>
            <a:effectLst>
              <a:glow>
                <a:schemeClr val="accent3">
                  <a:satMod val="175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  <a:reflection endPos="0" dir="5400000" sy="-100000" algn="bl" rotWithShape="0"/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</p:sp>
        <p:sp>
          <p:nvSpPr>
            <p:cNvPr id="7" name="Abgerundetes Rechteck 4"/>
            <p:cNvSpPr/>
            <p:nvPr/>
          </p:nvSpPr>
          <p:spPr>
            <a:xfrm>
              <a:off x="180035" y="290842"/>
              <a:ext cx="5509150" cy="584730"/>
            </a:xfrm>
            <a:prstGeom prst="rect">
              <a:avLst/>
            </a:prstGeom>
            <a:grpFill/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08000" tIns="75600" rIns="108000" bIns="75600" spcCol="1270" anchor="ctr"/>
            <a:lstStyle/>
            <a:p>
              <a:pPr defTabSz="622389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Useful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</a:t>
              </a: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Remarks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I:</a:t>
              </a:r>
              <a:endParaRPr lang="de-DE" sz="2000" b="1" dirty="0">
                <a:ln w="3175">
                  <a:noFill/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2562605" y="424882"/>
            <a:ext cx="6257893" cy="394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lnSpc>
                <a:spcPct val="110000"/>
              </a:lnSpc>
              <a:spcAft>
                <a:spcPts val="3430"/>
              </a:spcAft>
              <a:buClr>
                <a:schemeClr val="accent2"/>
              </a:buClr>
            </a:pPr>
            <a:r>
              <a:rPr lang="de-DE" sz="2100" b="1" dirty="0" smtClean="0"/>
              <a:t>Further Information</a:t>
            </a:r>
            <a:endParaRPr lang="de-DE" sz="2100" b="1" dirty="0"/>
          </a:p>
        </p:txBody>
      </p:sp>
      <p:pic>
        <p:nvPicPr>
          <p:cNvPr id="9" name="Picture 2" descr="http://katalog.aco-haustechnik.de/var/aco/storage/ilcatalogue/files/image/prodInfo.right.jpg/IM0004360_prodInfo.right_lar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03252" y="2565062"/>
            <a:ext cx="1994328" cy="17847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Rechteck 1"/>
          <p:cNvSpPr/>
          <p:nvPr/>
        </p:nvSpPr>
        <p:spPr>
          <a:xfrm>
            <a:off x="888622" y="7090325"/>
            <a:ext cx="9523819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eaLnBrk="1" hangingPunct="1">
              <a:spcBef>
                <a:spcPct val="50000"/>
              </a:spcBef>
            </a:pPr>
            <a:r>
              <a:rPr lang="de-DE" sz="2000" b="1" u="sng" dirty="0" err="1">
                <a:latin typeface="+mn-lt"/>
                <a:sym typeface="Wingdings" pitchFamily="2" charset="2"/>
              </a:rPr>
              <a:t>G</a:t>
            </a:r>
            <a:r>
              <a:rPr lang="de-DE" sz="2000" b="1" u="sng" dirty="0" err="1" smtClean="0">
                <a:latin typeface="+mn-lt"/>
                <a:sym typeface="Wingdings" pitchFamily="2" charset="2"/>
              </a:rPr>
              <a:t>rease</a:t>
            </a:r>
            <a:r>
              <a:rPr lang="de-DE" sz="2000" b="1" u="sng" dirty="0" smtClean="0">
                <a:latin typeface="+mn-lt"/>
                <a:sym typeface="Wingdings" pitchFamily="2" charset="2"/>
              </a:rPr>
              <a:t> </a:t>
            </a:r>
            <a:r>
              <a:rPr lang="de-DE" sz="2000" b="1" u="sng" dirty="0" err="1">
                <a:latin typeface="+mn-lt"/>
                <a:sym typeface="Wingdings" pitchFamily="2" charset="2"/>
              </a:rPr>
              <a:t>and</a:t>
            </a:r>
            <a:r>
              <a:rPr lang="de-DE" sz="2000" b="1" u="sng" dirty="0">
                <a:latin typeface="+mn-lt"/>
                <a:sym typeface="Wingdings" pitchFamily="2" charset="2"/>
              </a:rPr>
              <a:t> </a:t>
            </a:r>
            <a:r>
              <a:rPr lang="de-DE" sz="2000" b="1" u="sng" dirty="0" err="1">
                <a:latin typeface="+mn-lt"/>
                <a:sym typeface="Wingdings" pitchFamily="2" charset="2"/>
              </a:rPr>
              <a:t>sludge</a:t>
            </a:r>
            <a:r>
              <a:rPr lang="de-DE" sz="2000" b="1" u="sng" dirty="0">
                <a:latin typeface="+mn-lt"/>
                <a:sym typeface="Wingdings" pitchFamily="2" charset="2"/>
              </a:rPr>
              <a:t> will </a:t>
            </a:r>
            <a:r>
              <a:rPr lang="de-DE" sz="2000" b="1" u="sng" dirty="0" err="1">
                <a:latin typeface="+mn-lt"/>
                <a:sym typeface="Wingdings" pitchFamily="2" charset="2"/>
              </a:rPr>
              <a:t>become</a:t>
            </a:r>
            <a:r>
              <a:rPr lang="de-DE" sz="2000" b="1" u="sng" dirty="0">
                <a:latin typeface="+mn-lt"/>
                <a:sym typeface="Wingdings" pitchFamily="2" charset="2"/>
              </a:rPr>
              <a:t> </a:t>
            </a:r>
            <a:r>
              <a:rPr lang="de-DE" sz="2000" b="1" u="sng" dirty="0" err="1" smtClean="0">
                <a:latin typeface="+mn-lt"/>
                <a:sym typeface="Wingdings" pitchFamily="2" charset="2"/>
              </a:rPr>
              <a:t>hard</a:t>
            </a:r>
            <a:r>
              <a:rPr lang="de-DE" sz="2000" b="1" u="sng" dirty="0" smtClean="0">
                <a:latin typeface="+mn-lt"/>
                <a:sym typeface="Wingdings" pitchFamily="2" charset="2"/>
              </a:rPr>
              <a:t> </a:t>
            </a:r>
            <a:r>
              <a:rPr lang="de-DE" sz="2000" b="1" u="sng" dirty="0" err="1" smtClean="0">
                <a:latin typeface="+mn-lt"/>
                <a:sym typeface="Wingdings" pitchFamily="2" charset="2"/>
              </a:rPr>
              <a:t>during</a:t>
            </a:r>
            <a:r>
              <a:rPr lang="de-DE" sz="2000" b="1" u="sng" dirty="0" smtClean="0">
                <a:latin typeface="+mn-lt"/>
                <a:sym typeface="Wingdings" pitchFamily="2" charset="2"/>
              </a:rPr>
              <a:t> </a:t>
            </a:r>
            <a:r>
              <a:rPr lang="de-DE" sz="2000" b="1" u="sng" dirty="0" err="1">
                <a:latin typeface="+mn-lt"/>
                <a:sym typeface="Wingdings" pitchFamily="2" charset="2"/>
              </a:rPr>
              <a:t>the</a:t>
            </a:r>
            <a:r>
              <a:rPr lang="de-DE" sz="2000" b="1" u="sng" dirty="0">
                <a:latin typeface="+mn-lt"/>
                <a:sym typeface="Wingdings" pitchFamily="2" charset="2"/>
              </a:rPr>
              <a:t> „</a:t>
            </a:r>
            <a:r>
              <a:rPr lang="de-DE" sz="2000" b="1" u="sng" dirty="0" err="1">
                <a:latin typeface="+mn-lt"/>
                <a:sym typeface="Wingdings" pitchFamily="2" charset="2"/>
              </a:rPr>
              <a:t>saved</a:t>
            </a:r>
            <a:r>
              <a:rPr lang="de-DE" sz="2000" b="1" u="sng" dirty="0">
                <a:latin typeface="+mn-lt"/>
                <a:sym typeface="Wingdings" pitchFamily="2" charset="2"/>
              </a:rPr>
              <a:t>“ </a:t>
            </a:r>
            <a:r>
              <a:rPr lang="de-DE" sz="2000" b="1" u="sng" dirty="0" err="1">
                <a:latin typeface="+mn-lt"/>
                <a:sym typeface="Wingdings" pitchFamily="2" charset="2"/>
              </a:rPr>
              <a:t>weeks</a:t>
            </a:r>
            <a:r>
              <a:rPr lang="de-DE" sz="2000" b="1" u="sng" dirty="0">
                <a:latin typeface="+mn-lt"/>
                <a:sym typeface="Wingdings" pitchFamily="2" charset="2"/>
              </a:rPr>
              <a:t>. </a:t>
            </a:r>
          </a:p>
        </p:txBody>
      </p:sp>
      <p:pic>
        <p:nvPicPr>
          <p:cNvPr id="11" name="Picture 2" descr="http://katalog.aco-haustechnik.de/var/aco/storage/ilcatalogue/files/image/prodInfo.right.jpg/IM0004360_prodInfo.right_large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66445" y="2002697"/>
            <a:ext cx="3251134" cy="29094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" name="Textfeld 9"/>
          <p:cNvSpPr txBox="1"/>
          <p:nvPr/>
        </p:nvSpPr>
        <p:spPr>
          <a:xfrm>
            <a:off x="1223198" y="4461248"/>
            <a:ext cx="206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dirty="0" smtClean="0">
                <a:latin typeface="+mn-lt"/>
              </a:rPr>
              <a:t>NS 4</a:t>
            </a:r>
            <a:endParaRPr lang="de-DE" sz="1800" dirty="0">
              <a:latin typeface="+mn-lt"/>
            </a:endParaRPr>
          </a:p>
        </p:txBody>
      </p:sp>
      <p:sp>
        <p:nvSpPr>
          <p:cNvPr id="16" name="Textfeld 15"/>
          <p:cNvSpPr txBox="1"/>
          <p:nvPr/>
        </p:nvSpPr>
        <p:spPr>
          <a:xfrm>
            <a:off x="5961852" y="4925174"/>
            <a:ext cx="206155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dirty="0" smtClean="0">
                <a:latin typeface="+mn-lt"/>
              </a:rPr>
              <a:t>NS 10</a:t>
            </a:r>
            <a:endParaRPr lang="de-DE" sz="1800" dirty="0">
              <a:latin typeface="+mn-lt"/>
            </a:endParaRPr>
          </a:p>
        </p:txBody>
      </p:sp>
      <p:sp>
        <p:nvSpPr>
          <p:cNvPr id="13" name="Textfeld 12"/>
          <p:cNvSpPr txBox="1"/>
          <p:nvPr/>
        </p:nvSpPr>
        <p:spPr>
          <a:xfrm>
            <a:off x="-403941" y="5479171"/>
            <a:ext cx="531582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dirty="0" err="1" smtClean="0">
                <a:latin typeface="+mj-lt"/>
              </a:rPr>
              <a:t>According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to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calculation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you</a:t>
            </a:r>
            <a:r>
              <a:rPr lang="de-DE" sz="1800" dirty="0" smtClean="0">
                <a:latin typeface="+mj-lt"/>
              </a:rPr>
              <a:t> </a:t>
            </a:r>
          </a:p>
          <a:p>
            <a:pPr algn="ctr"/>
            <a:r>
              <a:rPr lang="de-DE" sz="1800" dirty="0" err="1" smtClean="0">
                <a:latin typeface="+mj-lt"/>
              </a:rPr>
              <a:t>need</a:t>
            </a:r>
            <a:r>
              <a:rPr lang="de-DE" sz="1800" dirty="0" smtClean="0">
                <a:latin typeface="+mj-lt"/>
              </a:rPr>
              <a:t> a NS 4 but…</a:t>
            </a:r>
            <a:endParaRPr lang="de-DE" sz="1800" dirty="0">
              <a:latin typeface="+mj-lt"/>
            </a:endParaRPr>
          </a:p>
        </p:txBody>
      </p:sp>
      <p:sp>
        <p:nvSpPr>
          <p:cNvPr id="14" name="Textfeld 13"/>
          <p:cNvSpPr txBox="1"/>
          <p:nvPr/>
        </p:nvSpPr>
        <p:spPr>
          <a:xfrm>
            <a:off x="5315827" y="5479172"/>
            <a:ext cx="460762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800" dirty="0" smtClean="0">
                <a:latin typeface="+mj-lt"/>
              </a:rPr>
              <a:t>…</a:t>
            </a:r>
            <a:r>
              <a:rPr lang="de-DE" sz="1800" dirty="0" err="1" smtClean="0">
                <a:latin typeface="+mj-lt"/>
              </a:rPr>
              <a:t>you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choose</a:t>
            </a:r>
            <a:r>
              <a:rPr lang="de-DE" sz="1800" dirty="0" smtClean="0">
                <a:latin typeface="+mj-lt"/>
              </a:rPr>
              <a:t> NS 10 </a:t>
            </a:r>
            <a:r>
              <a:rPr lang="de-DE" sz="1800" dirty="0" err="1" smtClean="0">
                <a:latin typeface="+mj-lt"/>
              </a:rPr>
              <a:t>to</a:t>
            </a:r>
            <a:r>
              <a:rPr lang="de-DE" sz="1800" dirty="0" smtClean="0">
                <a:latin typeface="+mj-lt"/>
              </a:rPr>
              <a:t> </a:t>
            </a:r>
            <a:r>
              <a:rPr lang="de-DE" sz="1800" dirty="0" err="1" smtClean="0">
                <a:latin typeface="+mj-lt"/>
              </a:rPr>
              <a:t>delay</a:t>
            </a:r>
            <a:r>
              <a:rPr lang="de-DE" sz="1800" dirty="0" smtClean="0">
                <a:latin typeface="+mj-lt"/>
              </a:rPr>
              <a:t> </a:t>
            </a:r>
          </a:p>
          <a:p>
            <a:pPr algn="ctr"/>
            <a:r>
              <a:rPr lang="de-DE" sz="1800" dirty="0" err="1" smtClean="0">
                <a:latin typeface="+mj-lt"/>
              </a:rPr>
              <a:t>disposal</a:t>
            </a:r>
            <a:r>
              <a:rPr lang="de-DE" sz="1800" dirty="0" smtClean="0">
                <a:latin typeface="+mj-lt"/>
              </a:rPr>
              <a:t> time</a:t>
            </a:r>
            <a:endParaRPr lang="de-DE" sz="1800" dirty="0">
              <a:latin typeface="+mj-lt"/>
            </a:endParaRPr>
          </a:p>
        </p:txBody>
      </p:sp>
      <p:cxnSp>
        <p:nvCxnSpPr>
          <p:cNvPr id="19" name="Gerade Verbindung mit Pfeil 18"/>
          <p:cNvCxnSpPr/>
          <p:nvPr/>
        </p:nvCxnSpPr>
        <p:spPr bwMode="auto">
          <a:xfrm>
            <a:off x="80146" y="7293405"/>
            <a:ext cx="754083" cy="0"/>
          </a:xfrm>
          <a:prstGeom prst="straightConnector1">
            <a:avLst/>
          </a:prstGeom>
          <a:solidFill>
            <a:schemeClr val="accent1"/>
          </a:solidFill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arrow"/>
          </a:ln>
          <a:effectLst/>
        </p:spPr>
      </p:cxnSp>
    </p:spTree>
    <p:extLst>
      <p:ext uri="{BB962C8B-B14F-4D97-AF65-F5344CB8AC3E}">
        <p14:creationId xmlns:p14="http://schemas.microsoft.com/office/powerpoint/2010/main" val="23372811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16" grpId="0"/>
      <p:bldP spid="14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reihandform 12"/>
          <p:cNvSpPr>
            <a:spLocks noChangeAspect="1"/>
          </p:cNvSpPr>
          <p:nvPr/>
        </p:nvSpPr>
        <p:spPr>
          <a:xfrm>
            <a:off x="1202671" y="2482306"/>
            <a:ext cx="2940568" cy="1191556"/>
          </a:xfrm>
          <a:custGeom>
            <a:avLst/>
            <a:gdLst>
              <a:gd name="connsiteX0" fmla="*/ 0 w 2944812"/>
              <a:gd name="connsiteY0" fmla="*/ 0 h 1177924"/>
              <a:gd name="connsiteX1" fmla="*/ 2355850 w 2944812"/>
              <a:gd name="connsiteY1" fmla="*/ 0 h 1177924"/>
              <a:gd name="connsiteX2" fmla="*/ 2944812 w 2944812"/>
              <a:gd name="connsiteY2" fmla="*/ 588962 h 1177924"/>
              <a:gd name="connsiteX3" fmla="*/ 2355850 w 2944812"/>
              <a:gd name="connsiteY3" fmla="*/ 1177924 h 1177924"/>
              <a:gd name="connsiteX4" fmla="*/ 0 w 2944812"/>
              <a:gd name="connsiteY4" fmla="*/ 1177924 h 1177924"/>
              <a:gd name="connsiteX5" fmla="*/ 588962 w 2944812"/>
              <a:gd name="connsiteY5" fmla="*/ 588962 h 1177924"/>
              <a:gd name="connsiteX6" fmla="*/ 0 w 2944812"/>
              <a:gd name="connsiteY6" fmla="*/ 0 h 1177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44812" h="1177924">
                <a:moveTo>
                  <a:pt x="0" y="0"/>
                </a:moveTo>
                <a:lnTo>
                  <a:pt x="2355850" y="0"/>
                </a:lnTo>
                <a:lnTo>
                  <a:pt x="2944812" y="588962"/>
                </a:lnTo>
                <a:lnTo>
                  <a:pt x="2355850" y="1177924"/>
                </a:lnTo>
                <a:lnTo>
                  <a:pt x="0" y="1177924"/>
                </a:lnTo>
                <a:lnTo>
                  <a:pt x="588962" y="58896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extrusionH="25400">
            <a:bevelT w="190500" h="50800"/>
          </a:sp3d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30115" tIns="8891" rIns="352850" bIns="8891" numCol="1" spcCol="889" anchor="ctr" anchorCtr="0">
            <a:noAutofit/>
          </a:bodyPr>
          <a:lstStyle/>
          <a:p>
            <a:pPr algn="ctr" defTabSz="622389">
              <a:lnSpc>
                <a:spcPct val="90000"/>
              </a:lnSpc>
              <a:spcAft>
                <a:spcPct val="35000"/>
              </a:spcAft>
            </a:pPr>
            <a:r>
              <a:rPr lang="de-DE" sz="17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 1825-1</a:t>
            </a:r>
          </a:p>
        </p:txBody>
      </p:sp>
      <p:sp>
        <p:nvSpPr>
          <p:cNvPr id="15" name="Freihandform 14"/>
          <p:cNvSpPr>
            <a:spLocks noChangeAspect="1"/>
          </p:cNvSpPr>
          <p:nvPr/>
        </p:nvSpPr>
        <p:spPr>
          <a:xfrm>
            <a:off x="4144913" y="2614536"/>
            <a:ext cx="2450473" cy="980604"/>
          </a:xfrm>
          <a:custGeom>
            <a:avLst/>
            <a:gdLst>
              <a:gd name="connsiteX0" fmla="*/ 0 w 2444194"/>
              <a:gd name="connsiteY0" fmla="*/ 0 h 977677"/>
              <a:gd name="connsiteX1" fmla="*/ 1955356 w 2444194"/>
              <a:gd name="connsiteY1" fmla="*/ 0 h 977677"/>
              <a:gd name="connsiteX2" fmla="*/ 2444194 w 2444194"/>
              <a:gd name="connsiteY2" fmla="*/ 488839 h 977677"/>
              <a:gd name="connsiteX3" fmla="*/ 1955356 w 2444194"/>
              <a:gd name="connsiteY3" fmla="*/ 977677 h 977677"/>
              <a:gd name="connsiteX4" fmla="*/ 0 w 2444194"/>
              <a:gd name="connsiteY4" fmla="*/ 977677 h 977677"/>
              <a:gd name="connsiteX5" fmla="*/ 488839 w 2444194"/>
              <a:gd name="connsiteY5" fmla="*/ 488839 h 977677"/>
              <a:gd name="connsiteX6" fmla="*/ 0 w 2444194"/>
              <a:gd name="connsiteY6" fmla="*/ 0 h 977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4194" h="977677">
                <a:moveTo>
                  <a:pt x="0" y="0"/>
                </a:moveTo>
                <a:lnTo>
                  <a:pt x="1955356" y="0"/>
                </a:lnTo>
                <a:lnTo>
                  <a:pt x="2444194" y="488839"/>
                </a:lnTo>
                <a:lnTo>
                  <a:pt x="1955356" y="977677"/>
                </a:lnTo>
                <a:lnTo>
                  <a:pt x="0" y="977677"/>
                </a:lnTo>
                <a:lnTo>
                  <a:pt x="488839" y="488839"/>
                </a:lnTo>
                <a:lnTo>
                  <a:pt x="0" y="0"/>
                </a:lnTo>
                <a:close/>
              </a:path>
            </a:pathLst>
          </a:custGeom>
          <a:solidFill>
            <a:srgbClr val="5F5F5F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extrusionH="25400">
            <a:bevelT w="190500" h="508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8240" tIns="8002" rIns="277240" bIns="8002" numCol="1" spcCol="889" anchor="ctr" anchorCtr="0">
            <a:noAutofit/>
          </a:bodyPr>
          <a:lstStyle/>
          <a:p>
            <a:pPr algn="ctr" defTabSz="56015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 err="1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Manufacture</a:t>
            </a:r>
            <a:r>
              <a:rPr lang="de-DE" sz="1400" b="1" dirty="0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standard</a:t>
            </a:r>
            <a:endParaRPr lang="de-DE" sz="1400" b="1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16" name="Freihandform 15"/>
          <p:cNvSpPr>
            <a:spLocks noChangeAspect="1"/>
          </p:cNvSpPr>
          <p:nvPr/>
        </p:nvSpPr>
        <p:spPr>
          <a:xfrm>
            <a:off x="6663192" y="2614536"/>
            <a:ext cx="2603627" cy="980604"/>
          </a:xfrm>
          <a:custGeom>
            <a:avLst/>
            <a:gdLst>
              <a:gd name="connsiteX0" fmla="*/ 0 w 2444194"/>
              <a:gd name="connsiteY0" fmla="*/ 0 h 977677"/>
              <a:gd name="connsiteX1" fmla="*/ 1955356 w 2444194"/>
              <a:gd name="connsiteY1" fmla="*/ 0 h 977677"/>
              <a:gd name="connsiteX2" fmla="*/ 2444194 w 2444194"/>
              <a:gd name="connsiteY2" fmla="*/ 488839 h 977677"/>
              <a:gd name="connsiteX3" fmla="*/ 1955356 w 2444194"/>
              <a:gd name="connsiteY3" fmla="*/ 977677 h 977677"/>
              <a:gd name="connsiteX4" fmla="*/ 0 w 2444194"/>
              <a:gd name="connsiteY4" fmla="*/ 977677 h 977677"/>
              <a:gd name="connsiteX5" fmla="*/ 488839 w 2444194"/>
              <a:gd name="connsiteY5" fmla="*/ 488839 h 977677"/>
              <a:gd name="connsiteX6" fmla="*/ 0 w 2444194"/>
              <a:gd name="connsiteY6" fmla="*/ 0 h 977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4194" h="977677">
                <a:moveTo>
                  <a:pt x="0" y="0"/>
                </a:moveTo>
                <a:lnTo>
                  <a:pt x="1955356" y="0"/>
                </a:lnTo>
                <a:lnTo>
                  <a:pt x="2444194" y="488839"/>
                </a:lnTo>
                <a:lnTo>
                  <a:pt x="1955356" y="977677"/>
                </a:lnTo>
                <a:lnTo>
                  <a:pt x="0" y="977677"/>
                </a:lnTo>
                <a:lnTo>
                  <a:pt x="488839" y="48883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extrusionH="25400">
            <a:bevelT w="190500" h="508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8240" tIns="8002" rIns="252036" bIns="8002" numCol="1" spcCol="889" anchor="ctr" anchorCtr="0">
            <a:noAutofit/>
          </a:bodyPr>
          <a:lstStyle/>
          <a:p>
            <a:pPr algn="ctr" defTabSz="560150">
              <a:lnSpc>
                <a:spcPct val="90000"/>
              </a:lnSpc>
              <a:spcAft>
                <a:spcPct val="35000"/>
              </a:spcAft>
            </a:pPr>
            <a:endParaRPr lang="de-DE" sz="1400" b="1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17" name="Freihandform 16"/>
          <p:cNvSpPr>
            <a:spLocks noChangeAspect="1"/>
          </p:cNvSpPr>
          <p:nvPr/>
        </p:nvSpPr>
        <p:spPr>
          <a:xfrm>
            <a:off x="1202671" y="4402167"/>
            <a:ext cx="2940568" cy="1191556"/>
          </a:xfrm>
          <a:custGeom>
            <a:avLst/>
            <a:gdLst>
              <a:gd name="connsiteX0" fmla="*/ 0 w 2944812"/>
              <a:gd name="connsiteY0" fmla="*/ 0 h 1177924"/>
              <a:gd name="connsiteX1" fmla="*/ 2355850 w 2944812"/>
              <a:gd name="connsiteY1" fmla="*/ 0 h 1177924"/>
              <a:gd name="connsiteX2" fmla="*/ 2944812 w 2944812"/>
              <a:gd name="connsiteY2" fmla="*/ 588962 h 1177924"/>
              <a:gd name="connsiteX3" fmla="*/ 2355850 w 2944812"/>
              <a:gd name="connsiteY3" fmla="*/ 1177924 h 1177924"/>
              <a:gd name="connsiteX4" fmla="*/ 0 w 2944812"/>
              <a:gd name="connsiteY4" fmla="*/ 1177924 h 1177924"/>
              <a:gd name="connsiteX5" fmla="*/ 588962 w 2944812"/>
              <a:gd name="connsiteY5" fmla="*/ 588962 h 1177924"/>
              <a:gd name="connsiteX6" fmla="*/ 0 w 2944812"/>
              <a:gd name="connsiteY6" fmla="*/ 0 h 11779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944812" h="1177924">
                <a:moveTo>
                  <a:pt x="0" y="0"/>
                </a:moveTo>
                <a:lnTo>
                  <a:pt x="2355850" y="0"/>
                </a:lnTo>
                <a:lnTo>
                  <a:pt x="2944812" y="588962"/>
                </a:lnTo>
                <a:lnTo>
                  <a:pt x="2355850" y="1177924"/>
                </a:lnTo>
                <a:lnTo>
                  <a:pt x="0" y="1177924"/>
                </a:lnTo>
                <a:lnTo>
                  <a:pt x="588962" y="588962"/>
                </a:lnTo>
                <a:lnTo>
                  <a:pt x="0" y="0"/>
                </a:lnTo>
                <a:close/>
              </a:path>
            </a:pathLst>
          </a:cu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extrusionH="25400">
            <a:bevelT w="190500" h="50800"/>
          </a:sp3d>
        </p:spPr>
        <p:style>
          <a:lnRef idx="2">
            <a:scrgbClr r="0" g="0" b="0"/>
          </a:lnRef>
          <a:fillRef idx="1">
            <a:schemeClr val="accent1">
              <a:hueOff val="0"/>
              <a:satOff val="0"/>
              <a:lumOff val="0"/>
              <a:alphaOff val="0"/>
            </a:schemeClr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430115" tIns="8891" rIns="352850" bIns="8891" numCol="1" spcCol="889" anchor="ctr" anchorCtr="0">
            <a:noAutofit/>
          </a:bodyPr>
          <a:lstStyle/>
          <a:p>
            <a:pPr algn="ctr" defTabSz="622389">
              <a:lnSpc>
                <a:spcPct val="90000"/>
              </a:lnSpc>
              <a:spcAft>
                <a:spcPct val="35000"/>
              </a:spcAft>
            </a:pPr>
            <a:r>
              <a:rPr lang="de-DE" sz="1700" b="1" dirty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EN 1825-2</a:t>
            </a:r>
          </a:p>
        </p:txBody>
      </p:sp>
      <p:sp>
        <p:nvSpPr>
          <p:cNvPr id="18" name="Freihandform 17"/>
          <p:cNvSpPr>
            <a:spLocks noChangeAspect="1"/>
          </p:cNvSpPr>
          <p:nvPr/>
        </p:nvSpPr>
        <p:spPr>
          <a:xfrm>
            <a:off x="4144913" y="4507643"/>
            <a:ext cx="2450473" cy="980604"/>
          </a:xfrm>
          <a:custGeom>
            <a:avLst/>
            <a:gdLst>
              <a:gd name="connsiteX0" fmla="*/ 0 w 2444194"/>
              <a:gd name="connsiteY0" fmla="*/ 0 h 977677"/>
              <a:gd name="connsiteX1" fmla="*/ 1955356 w 2444194"/>
              <a:gd name="connsiteY1" fmla="*/ 0 h 977677"/>
              <a:gd name="connsiteX2" fmla="*/ 2444194 w 2444194"/>
              <a:gd name="connsiteY2" fmla="*/ 488839 h 977677"/>
              <a:gd name="connsiteX3" fmla="*/ 1955356 w 2444194"/>
              <a:gd name="connsiteY3" fmla="*/ 977677 h 977677"/>
              <a:gd name="connsiteX4" fmla="*/ 0 w 2444194"/>
              <a:gd name="connsiteY4" fmla="*/ 977677 h 977677"/>
              <a:gd name="connsiteX5" fmla="*/ 488839 w 2444194"/>
              <a:gd name="connsiteY5" fmla="*/ 488839 h 977677"/>
              <a:gd name="connsiteX6" fmla="*/ 0 w 2444194"/>
              <a:gd name="connsiteY6" fmla="*/ 0 h 977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4194" h="977677">
                <a:moveTo>
                  <a:pt x="0" y="0"/>
                </a:moveTo>
                <a:lnTo>
                  <a:pt x="1955356" y="0"/>
                </a:lnTo>
                <a:lnTo>
                  <a:pt x="2444194" y="488839"/>
                </a:lnTo>
                <a:lnTo>
                  <a:pt x="1955356" y="977677"/>
                </a:lnTo>
                <a:lnTo>
                  <a:pt x="0" y="977677"/>
                </a:lnTo>
                <a:lnTo>
                  <a:pt x="488839" y="488839"/>
                </a:lnTo>
                <a:lnTo>
                  <a:pt x="0" y="0"/>
                </a:lnTo>
                <a:close/>
              </a:path>
            </a:pathLst>
          </a:custGeom>
          <a:solidFill>
            <a:srgbClr val="5F5F5F">
              <a:alpha val="90000"/>
            </a:srgb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extrusionH="25400">
            <a:bevelT w="190500" h="508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8240" tIns="8002" rIns="277240" bIns="8002" numCol="1" spcCol="889" anchor="ctr" anchorCtr="0">
            <a:noAutofit/>
          </a:bodyPr>
          <a:lstStyle/>
          <a:p>
            <a:pPr algn="ctr" defTabSz="56015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 err="1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Application</a:t>
            </a:r>
            <a:r>
              <a:rPr lang="de-DE" sz="1400" b="1" dirty="0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 </a:t>
            </a:r>
            <a:r>
              <a:rPr lang="de-DE" sz="1400" b="1" dirty="0" err="1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standard</a:t>
            </a:r>
            <a:endParaRPr lang="de-DE" sz="1400" b="1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19" name="Freihandform 18"/>
          <p:cNvSpPr>
            <a:spLocks noChangeAspect="1"/>
          </p:cNvSpPr>
          <p:nvPr/>
        </p:nvSpPr>
        <p:spPr>
          <a:xfrm>
            <a:off x="6663191" y="4507643"/>
            <a:ext cx="2603627" cy="980604"/>
          </a:xfrm>
          <a:custGeom>
            <a:avLst/>
            <a:gdLst>
              <a:gd name="connsiteX0" fmla="*/ 0 w 2444194"/>
              <a:gd name="connsiteY0" fmla="*/ 0 h 977677"/>
              <a:gd name="connsiteX1" fmla="*/ 1955356 w 2444194"/>
              <a:gd name="connsiteY1" fmla="*/ 0 h 977677"/>
              <a:gd name="connsiteX2" fmla="*/ 2444194 w 2444194"/>
              <a:gd name="connsiteY2" fmla="*/ 488839 h 977677"/>
              <a:gd name="connsiteX3" fmla="*/ 1955356 w 2444194"/>
              <a:gd name="connsiteY3" fmla="*/ 977677 h 977677"/>
              <a:gd name="connsiteX4" fmla="*/ 0 w 2444194"/>
              <a:gd name="connsiteY4" fmla="*/ 977677 h 977677"/>
              <a:gd name="connsiteX5" fmla="*/ 488839 w 2444194"/>
              <a:gd name="connsiteY5" fmla="*/ 488839 h 977677"/>
              <a:gd name="connsiteX6" fmla="*/ 0 w 2444194"/>
              <a:gd name="connsiteY6" fmla="*/ 0 h 9776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4194" h="977677">
                <a:moveTo>
                  <a:pt x="0" y="0"/>
                </a:moveTo>
                <a:lnTo>
                  <a:pt x="1955356" y="0"/>
                </a:lnTo>
                <a:lnTo>
                  <a:pt x="2444194" y="488839"/>
                </a:lnTo>
                <a:lnTo>
                  <a:pt x="1955356" y="977677"/>
                </a:lnTo>
                <a:lnTo>
                  <a:pt x="0" y="977677"/>
                </a:lnTo>
                <a:lnTo>
                  <a:pt x="488839" y="488839"/>
                </a:lnTo>
                <a:lnTo>
                  <a:pt x="0" y="0"/>
                </a:lnTo>
                <a:close/>
              </a:path>
            </a:pathLst>
          </a:custGeom>
          <a:solidFill>
            <a:schemeClr val="bg1">
              <a:lumMod val="50000"/>
              <a:alpha val="90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 extrusionH="25400">
            <a:bevelT w="190500" h="50800"/>
          </a:sp3d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358240" tIns="8002" rIns="252036" bIns="8002" numCol="1" spcCol="889" anchor="ctr" anchorCtr="0">
            <a:noAutofit/>
          </a:bodyPr>
          <a:lstStyle/>
          <a:p>
            <a:pPr algn="ctr" defTabSz="56015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 err="1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Dimensioning</a:t>
            </a:r>
            <a:endParaRPr lang="de-DE" sz="1400" b="1" dirty="0" smtClean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  <a:p>
            <a:pPr algn="ctr" defTabSz="56015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Installation</a:t>
            </a:r>
          </a:p>
          <a:p>
            <a:pPr algn="ctr" defTabSz="560150">
              <a:lnSpc>
                <a:spcPct val="90000"/>
              </a:lnSpc>
              <a:spcAft>
                <a:spcPct val="35000"/>
              </a:spcAft>
            </a:pPr>
            <a:r>
              <a:rPr lang="de-DE" sz="1400" b="1" dirty="0" smtClean="0"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rPr>
              <a:t>Maintenance</a:t>
            </a:r>
            <a:endParaRPr lang="de-DE" sz="1400" b="1" dirty="0">
              <a:solidFill>
                <a:schemeClr val="bg1"/>
              </a:solidFill>
              <a:effectLst>
                <a:innerShdw blurRad="63500" dist="50800" dir="13500000">
                  <a:prstClr val="black">
                    <a:alpha val="50000"/>
                  </a:prstClr>
                </a:innerShdw>
              </a:effectLst>
            </a:endParaRPr>
          </a:p>
        </p:txBody>
      </p:sp>
      <p:sp>
        <p:nvSpPr>
          <p:cNvPr id="14" name="Titel 1"/>
          <p:cNvSpPr>
            <a:spLocks noGrp="1"/>
          </p:cNvSpPr>
          <p:nvPr>
            <p:ph type="title"/>
          </p:nvPr>
        </p:nvSpPr>
        <p:spPr>
          <a:xfrm>
            <a:off x="2668028" y="279029"/>
            <a:ext cx="6848166" cy="704850"/>
          </a:xfrm>
        </p:spPr>
        <p:txBody>
          <a:bodyPr/>
          <a:lstStyle/>
          <a:p>
            <a:r>
              <a:rPr lang="de-DE" dirty="0" err="1" smtClean="0"/>
              <a:t>Regulations</a:t>
            </a:r>
            <a:r>
              <a:rPr lang="de-DE" dirty="0" smtClean="0"/>
              <a:t> </a:t>
            </a:r>
            <a:r>
              <a:rPr lang="de-DE" dirty="0" err="1" smtClean="0"/>
              <a:t>for</a:t>
            </a:r>
            <a:r>
              <a:rPr lang="de-DE" dirty="0" smtClean="0"/>
              <a:t> </a:t>
            </a:r>
            <a:r>
              <a:rPr lang="de-DE" dirty="0" err="1" smtClean="0"/>
              <a:t>Grease</a:t>
            </a:r>
            <a:r>
              <a:rPr lang="de-DE" dirty="0" smtClean="0"/>
              <a:t> Separators</a:t>
            </a:r>
            <a:endParaRPr lang="de-DE" dirty="0"/>
          </a:p>
        </p:txBody>
      </p:sp>
      <p:sp>
        <p:nvSpPr>
          <p:cNvPr id="2" name="Textfeld 1"/>
          <p:cNvSpPr txBox="1"/>
          <p:nvPr/>
        </p:nvSpPr>
        <p:spPr>
          <a:xfrm>
            <a:off x="6830922" y="2598837"/>
            <a:ext cx="2170591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1400" b="1" i="1" dirty="0">
                <a:solidFill>
                  <a:schemeClr val="bg1"/>
                </a:solidFill>
                <a:latin typeface="+mn-lt"/>
              </a:rPr>
              <a:t>Manufacturing </a:t>
            </a:r>
            <a:r>
              <a:rPr lang="de-DE" sz="1400" b="1" i="1" dirty="0" err="1">
                <a:solidFill>
                  <a:schemeClr val="bg1"/>
                </a:solidFill>
                <a:latin typeface="+mn-lt"/>
              </a:rPr>
              <a:t>principles</a:t>
            </a:r>
            <a:endParaRPr lang="de-DE" sz="1400" b="1" i="1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de-DE" sz="1400" b="1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b="1" i="1" dirty="0" err="1">
                <a:solidFill>
                  <a:schemeClr val="bg1"/>
                </a:solidFill>
                <a:latin typeface="+mn-lt"/>
              </a:rPr>
              <a:t>and</a:t>
            </a:r>
            <a:r>
              <a:rPr lang="de-DE" sz="1400" b="1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b="1" i="1" dirty="0" err="1">
                <a:solidFill>
                  <a:schemeClr val="bg1"/>
                </a:solidFill>
                <a:latin typeface="+mn-lt"/>
              </a:rPr>
              <a:t>testing</a:t>
            </a:r>
            <a:r>
              <a:rPr lang="de-DE" sz="1400" b="1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b="1" i="1" dirty="0" err="1">
                <a:solidFill>
                  <a:schemeClr val="bg1"/>
                </a:solidFill>
                <a:latin typeface="+mn-lt"/>
              </a:rPr>
              <a:t>of</a:t>
            </a:r>
            <a:endParaRPr lang="de-DE" sz="1400" b="1" i="1" dirty="0">
              <a:solidFill>
                <a:schemeClr val="bg1"/>
              </a:solidFill>
              <a:latin typeface="+mn-lt"/>
            </a:endParaRPr>
          </a:p>
          <a:p>
            <a:pPr algn="ctr"/>
            <a:r>
              <a:rPr lang="de-DE" sz="1400" b="1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b="1" i="1" dirty="0" err="1">
                <a:solidFill>
                  <a:schemeClr val="bg1"/>
                </a:solidFill>
                <a:latin typeface="+mn-lt"/>
              </a:rPr>
              <a:t>grease</a:t>
            </a:r>
            <a:r>
              <a:rPr lang="de-DE" sz="1400" b="1" i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1400" b="1" i="1" dirty="0" err="1">
                <a:solidFill>
                  <a:schemeClr val="bg1"/>
                </a:solidFill>
                <a:latin typeface="+mn-lt"/>
              </a:rPr>
              <a:t>separators</a:t>
            </a:r>
            <a:endParaRPr lang="de-DE" sz="1400" b="1" i="1" dirty="0">
              <a:solidFill>
                <a:schemeClr val="bg1"/>
              </a:solidFill>
              <a:latin typeface="+mn-lt"/>
            </a:endParaRPr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7818447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uppieren 4"/>
          <p:cNvGrpSpPr>
            <a:grpSpLocks noChangeAspect="1"/>
          </p:cNvGrpSpPr>
          <p:nvPr/>
        </p:nvGrpSpPr>
        <p:grpSpPr>
          <a:xfrm>
            <a:off x="888623" y="1478203"/>
            <a:ext cx="2899606" cy="612563"/>
            <a:chOff x="148403" y="259210"/>
            <a:chExt cx="5572414" cy="647994"/>
          </a:xfrm>
          <a:solidFill>
            <a:srgbClr val="5F5F5F"/>
          </a:solidFill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6" name="Abgerundetes Rechteck 5"/>
            <p:cNvSpPr/>
            <p:nvPr/>
          </p:nvSpPr>
          <p:spPr>
            <a:xfrm>
              <a:off x="148403" y="259210"/>
              <a:ext cx="5572414" cy="647994"/>
            </a:xfrm>
            <a:prstGeom prst="roundRect">
              <a:avLst/>
            </a:prstGeom>
            <a:grpFill/>
            <a:ln w="0">
              <a:noFill/>
            </a:ln>
            <a:effectLst>
              <a:glow>
                <a:schemeClr val="accent3">
                  <a:satMod val="175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  <a:reflection endPos="0" dir="5400000" sy="-100000" algn="bl" rotWithShape="0"/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</p:sp>
        <p:sp>
          <p:nvSpPr>
            <p:cNvPr id="7" name="Abgerundetes Rechteck 4"/>
            <p:cNvSpPr/>
            <p:nvPr/>
          </p:nvSpPr>
          <p:spPr>
            <a:xfrm>
              <a:off x="180035" y="290842"/>
              <a:ext cx="5509150" cy="584730"/>
            </a:xfrm>
            <a:prstGeom prst="rect">
              <a:avLst/>
            </a:prstGeom>
            <a:grpFill/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08000" tIns="75600" rIns="108000" bIns="75600" spcCol="1270" anchor="ctr"/>
            <a:lstStyle/>
            <a:p>
              <a:pPr defTabSz="622389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Useful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</a:t>
              </a: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Remarks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II:</a:t>
              </a:r>
              <a:endParaRPr lang="de-DE" sz="2000" b="1" dirty="0">
                <a:ln w="3175">
                  <a:noFill/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8" name="Rectangle 3"/>
          <p:cNvSpPr txBox="1">
            <a:spLocks noChangeArrowheads="1"/>
          </p:cNvSpPr>
          <p:nvPr/>
        </p:nvSpPr>
        <p:spPr bwMode="auto">
          <a:xfrm>
            <a:off x="2562605" y="424882"/>
            <a:ext cx="6257893" cy="394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lnSpc>
                <a:spcPct val="110000"/>
              </a:lnSpc>
              <a:spcAft>
                <a:spcPts val="3430"/>
              </a:spcAft>
              <a:buClr>
                <a:schemeClr val="accent2"/>
              </a:buClr>
            </a:pPr>
            <a:r>
              <a:rPr lang="de-DE" sz="2100" b="1" dirty="0" smtClean="0"/>
              <a:t>Further Information</a:t>
            </a:r>
            <a:endParaRPr lang="de-DE" sz="2100" b="1" dirty="0"/>
          </a:p>
        </p:txBody>
      </p:sp>
      <p:sp>
        <p:nvSpPr>
          <p:cNvPr id="10" name="Textfeld 9"/>
          <p:cNvSpPr txBox="1"/>
          <p:nvPr/>
        </p:nvSpPr>
        <p:spPr>
          <a:xfrm>
            <a:off x="1147200" y="6683562"/>
            <a:ext cx="39785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>
                <a:latin typeface="+mn-lt"/>
              </a:rPr>
              <a:t>&gt;NS 20 </a:t>
            </a:r>
            <a:r>
              <a:rPr lang="de-DE" sz="2000" b="1" dirty="0" err="1" smtClean="0">
                <a:latin typeface="+mn-lt"/>
              </a:rPr>
              <a:t>manunfactured</a:t>
            </a:r>
            <a:r>
              <a:rPr lang="de-DE" sz="2000" b="1" dirty="0" smtClean="0">
                <a:latin typeface="+mn-lt"/>
              </a:rPr>
              <a:t> </a:t>
            </a:r>
            <a:r>
              <a:rPr lang="de-DE" sz="2000" b="1" dirty="0" err="1" smtClean="0">
                <a:latin typeface="+mn-lt"/>
              </a:rPr>
              <a:t>from</a:t>
            </a:r>
            <a:r>
              <a:rPr lang="de-DE" sz="2000" b="1" dirty="0" smtClean="0">
                <a:latin typeface="+mn-lt"/>
              </a:rPr>
              <a:t> PE </a:t>
            </a:r>
            <a:r>
              <a:rPr lang="de-DE" sz="2000" b="1" dirty="0" err="1" smtClean="0">
                <a:latin typeface="+mn-lt"/>
              </a:rPr>
              <a:t>plates</a:t>
            </a:r>
            <a:r>
              <a:rPr lang="de-DE" sz="2000" b="1" dirty="0" smtClean="0">
                <a:latin typeface="+mn-lt"/>
              </a:rPr>
              <a:t> (</a:t>
            </a:r>
            <a:r>
              <a:rPr lang="de-DE" sz="2000" b="1" dirty="0" err="1" smtClean="0">
                <a:latin typeface="+mn-lt"/>
              </a:rPr>
              <a:t>welded</a:t>
            </a:r>
            <a:r>
              <a:rPr lang="de-DE" sz="2000" b="1" dirty="0" smtClean="0">
                <a:latin typeface="+mn-lt"/>
              </a:rPr>
              <a:t>) </a:t>
            </a:r>
            <a:endParaRPr lang="de-DE" sz="2000" b="1" dirty="0">
              <a:latin typeface="+mn-lt"/>
            </a:endParaRPr>
          </a:p>
        </p:txBody>
      </p:sp>
      <p:pic>
        <p:nvPicPr>
          <p:cNvPr id="6146" name="Picture 2" descr="C:\Users\mjaeger\AppData\Local\Microsoft\Windows\Temporary Internet Files\Content.Outlook\DZ4MRUNM\Foto (5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4525" y="2245145"/>
            <a:ext cx="5535750" cy="4151812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148" name="Picture 4" descr="http://katalog.aco-haustechnik.de/var/aco/storage/ilcatalogue/files/image/prodInfo.right.jpg/IM0004342_prodInfo.right_larg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79499" y="2245145"/>
            <a:ext cx="4130164" cy="4151811"/>
          </a:xfrm>
          <a:prstGeom prst="rect">
            <a:avLst/>
          </a:prstGeom>
          <a:noFill/>
          <a:ln>
            <a:solidFill>
              <a:schemeClr val="tx1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7" name="Textfeld 16"/>
          <p:cNvSpPr txBox="1"/>
          <p:nvPr/>
        </p:nvSpPr>
        <p:spPr>
          <a:xfrm>
            <a:off x="6379499" y="6683562"/>
            <a:ext cx="3978536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de-DE" sz="2000" b="1" dirty="0" smtClean="0">
                <a:latin typeface="+mn-lt"/>
              </a:rPr>
              <a:t>&gt;NS 20 </a:t>
            </a:r>
            <a:r>
              <a:rPr lang="de-DE" sz="2000" b="1" dirty="0" err="1" smtClean="0">
                <a:latin typeface="+mn-lt"/>
              </a:rPr>
              <a:t>manunfactured</a:t>
            </a:r>
            <a:r>
              <a:rPr lang="de-DE" sz="2000" b="1" dirty="0" smtClean="0">
                <a:latin typeface="+mn-lt"/>
              </a:rPr>
              <a:t> </a:t>
            </a:r>
            <a:r>
              <a:rPr lang="de-DE" sz="2000" b="1" dirty="0" err="1" smtClean="0">
                <a:latin typeface="+mn-lt"/>
              </a:rPr>
              <a:t>from</a:t>
            </a:r>
            <a:r>
              <a:rPr lang="de-DE" sz="2000" b="1" dirty="0" smtClean="0">
                <a:latin typeface="+mn-lt"/>
              </a:rPr>
              <a:t> </a:t>
            </a:r>
            <a:r>
              <a:rPr lang="de-DE" sz="2000" b="1" dirty="0" err="1" smtClean="0">
                <a:latin typeface="+mn-lt"/>
              </a:rPr>
              <a:t>stainless</a:t>
            </a:r>
            <a:r>
              <a:rPr lang="de-DE" sz="2000" b="1" dirty="0" smtClean="0">
                <a:latin typeface="+mn-lt"/>
              </a:rPr>
              <a:t> </a:t>
            </a:r>
            <a:r>
              <a:rPr lang="de-DE" sz="2000" b="1" dirty="0" err="1" smtClean="0">
                <a:latin typeface="+mn-lt"/>
              </a:rPr>
              <a:t>steel</a:t>
            </a:r>
            <a:r>
              <a:rPr lang="de-DE" sz="2000" b="1" dirty="0" smtClean="0">
                <a:latin typeface="+mn-lt"/>
              </a:rPr>
              <a:t> </a:t>
            </a:r>
            <a:endParaRPr lang="de-DE" sz="2000" b="1" dirty="0"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4271989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083" name="Text Box 5"/>
          <p:cNvSpPr txBox="1">
            <a:spLocks noChangeArrowheads="1"/>
          </p:cNvSpPr>
          <p:nvPr/>
        </p:nvSpPr>
        <p:spPr bwMode="auto">
          <a:xfrm>
            <a:off x="903251" y="6148820"/>
            <a:ext cx="8706639" cy="116955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342900" indent="-34290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de-DE" sz="2000" dirty="0" err="1" smtClean="0">
                <a:latin typeface="+mn-lt"/>
                <a:sym typeface="Wingdings" pitchFamily="2" charset="2"/>
              </a:rPr>
              <a:t>We</a:t>
            </a:r>
            <a:r>
              <a:rPr lang="de-DE" sz="2000" dirty="0" smtClean="0">
                <a:latin typeface="+mn-lt"/>
                <a:sym typeface="Wingdings" pitchFamily="2" charset="2"/>
              </a:rPr>
              <a:t> </a:t>
            </a:r>
            <a:r>
              <a:rPr lang="de-DE" sz="2000" dirty="0">
                <a:latin typeface="+mn-lt"/>
                <a:sym typeface="Wingdings" pitchFamily="2" charset="2"/>
              </a:rPr>
              <a:t>also </a:t>
            </a:r>
            <a:r>
              <a:rPr lang="de-DE" sz="2000" dirty="0" err="1">
                <a:latin typeface="+mn-lt"/>
                <a:sym typeface="Wingdings" pitchFamily="2" charset="2"/>
              </a:rPr>
              <a:t>offer</a:t>
            </a:r>
            <a:r>
              <a:rPr lang="de-DE" sz="2000" dirty="0">
                <a:latin typeface="+mn-lt"/>
                <a:sym typeface="Wingdings" pitchFamily="2" charset="2"/>
              </a:rPr>
              <a:t> Nominal Sizes </a:t>
            </a:r>
            <a:r>
              <a:rPr lang="de-DE" sz="2000" b="1" dirty="0">
                <a:latin typeface="+mn-lt"/>
                <a:sym typeface="Wingdings" pitchFamily="2" charset="2"/>
              </a:rPr>
              <a:t>3</a:t>
            </a:r>
            <a:r>
              <a:rPr lang="de-DE" sz="2000" dirty="0">
                <a:latin typeface="+mn-lt"/>
                <a:sym typeface="Wingdings" pitchFamily="2" charset="2"/>
              </a:rPr>
              <a:t>, </a:t>
            </a:r>
            <a:r>
              <a:rPr lang="de-DE" sz="2000" b="1" dirty="0">
                <a:latin typeface="+mn-lt"/>
                <a:sym typeface="Wingdings" pitchFamily="2" charset="2"/>
              </a:rPr>
              <a:t>5.5</a:t>
            </a:r>
            <a:r>
              <a:rPr lang="de-DE" sz="2000" dirty="0">
                <a:latin typeface="+mn-lt"/>
                <a:sym typeface="Wingdings" pitchFamily="2" charset="2"/>
              </a:rPr>
              <a:t> </a:t>
            </a:r>
            <a:r>
              <a:rPr lang="de-DE" sz="2000" dirty="0" err="1">
                <a:latin typeface="+mn-lt"/>
                <a:sym typeface="Wingdings" pitchFamily="2" charset="2"/>
              </a:rPr>
              <a:t>and</a:t>
            </a:r>
            <a:r>
              <a:rPr lang="de-DE" sz="2000" dirty="0">
                <a:latin typeface="+mn-lt"/>
                <a:sym typeface="Wingdings" pitchFamily="2" charset="2"/>
              </a:rPr>
              <a:t> </a:t>
            </a:r>
            <a:r>
              <a:rPr lang="de-DE" sz="2000" b="1" dirty="0">
                <a:latin typeface="+mn-lt"/>
                <a:sym typeface="Wingdings" pitchFamily="2" charset="2"/>
              </a:rPr>
              <a:t>8.5</a:t>
            </a:r>
            <a:r>
              <a:rPr lang="de-DE" sz="2000" dirty="0">
                <a:latin typeface="+mn-lt"/>
                <a:sym typeface="Wingdings" pitchFamily="2" charset="2"/>
              </a:rPr>
              <a:t>. </a:t>
            </a:r>
          </a:p>
          <a:p>
            <a:pPr marL="342900" indent="-342900" eaLnBrk="1" hangingPunct="1">
              <a:spcBef>
                <a:spcPct val="50000"/>
              </a:spcBef>
              <a:buClr>
                <a:srgbClr val="FF0000"/>
              </a:buClr>
              <a:buFont typeface="Wingdings" panose="05000000000000000000" pitchFamily="2" charset="2"/>
              <a:buChar char="§"/>
            </a:pPr>
            <a:r>
              <a:rPr lang="de-DE" sz="2000" dirty="0" smtClean="0">
                <a:latin typeface="+mn-lt"/>
                <a:sym typeface="Wingdings" pitchFamily="2" charset="2"/>
              </a:rPr>
              <a:t>May </a:t>
            </a:r>
            <a:r>
              <a:rPr lang="de-DE" sz="2000" dirty="0" err="1" smtClean="0">
                <a:latin typeface="+mn-lt"/>
                <a:sym typeface="Wingdings" pitchFamily="2" charset="2"/>
              </a:rPr>
              <a:t>be</a:t>
            </a:r>
            <a:r>
              <a:rPr lang="de-DE" sz="2000" dirty="0" smtClean="0">
                <a:latin typeface="+mn-lt"/>
                <a:sym typeface="Wingdings" pitchFamily="2" charset="2"/>
              </a:rPr>
              <a:t> </a:t>
            </a:r>
            <a:r>
              <a:rPr lang="de-DE" sz="2000" dirty="0" err="1" smtClean="0">
                <a:latin typeface="+mn-lt"/>
                <a:sym typeface="Wingdings" pitchFamily="2" charset="2"/>
              </a:rPr>
              <a:t>you</a:t>
            </a:r>
            <a:r>
              <a:rPr lang="de-DE" sz="2000" dirty="0" smtClean="0">
                <a:latin typeface="+mn-lt"/>
                <a:sym typeface="Wingdings" pitchFamily="2" charset="2"/>
              </a:rPr>
              <a:t> </a:t>
            </a:r>
            <a:r>
              <a:rPr lang="de-DE" sz="2000" dirty="0" err="1" smtClean="0">
                <a:latin typeface="+mn-lt"/>
                <a:sym typeface="Wingdings" pitchFamily="2" charset="2"/>
              </a:rPr>
              <a:t>can</a:t>
            </a:r>
            <a:r>
              <a:rPr lang="de-DE" sz="2000" dirty="0">
                <a:latin typeface="+mn-lt"/>
                <a:sym typeface="Wingdings" pitchFamily="2" charset="2"/>
              </a:rPr>
              <a:t> </a:t>
            </a:r>
            <a:r>
              <a:rPr lang="de-DE" sz="2000" b="1" dirty="0" err="1" smtClean="0">
                <a:latin typeface="+mn-lt"/>
                <a:sym typeface="Wingdings" pitchFamily="2" charset="2"/>
              </a:rPr>
              <a:t>quote</a:t>
            </a:r>
            <a:r>
              <a:rPr lang="de-DE" sz="2000" b="1" dirty="0" smtClean="0">
                <a:latin typeface="+mn-lt"/>
                <a:sym typeface="Wingdings" pitchFamily="2" charset="2"/>
              </a:rPr>
              <a:t> </a:t>
            </a:r>
            <a:r>
              <a:rPr lang="de-DE" sz="2000" b="1" dirty="0" err="1">
                <a:latin typeface="+mn-lt"/>
                <a:sym typeface="Wingdings" pitchFamily="2" charset="2"/>
              </a:rPr>
              <a:t>against</a:t>
            </a:r>
            <a:r>
              <a:rPr lang="de-DE" sz="2000" b="1" dirty="0">
                <a:latin typeface="+mn-lt"/>
                <a:sym typeface="Wingdings" pitchFamily="2" charset="2"/>
              </a:rPr>
              <a:t> a </a:t>
            </a:r>
            <a:r>
              <a:rPr lang="de-DE" sz="2000" b="1" dirty="0" err="1">
                <a:latin typeface="+mn-lt"/>
                <a:sym typeface="Wingdings" pitchFamily="2" charset="2"/>
              </a:rPr>
              <a:t>competitor</a:t>
            </a:r>
            <a:r>
              <a:rPr lang="de-DE" sz="2000" b="1" dirty="0">
                <a:latin typeface="+mn-lt"/>
                <a:sym typeface="Wingdings" pitchFamily="2" charset="2"/>
              </a:rPr>
              <a:t> </a:t>
            </a:r>
            <a:r>
              <a:rPr lang="de-DE" sz="2000" dirty="0" err="1">
                <a:latin typeface="+mn-lt"/>
                <a:sym typeface="Wingdings" pitchFamily="2" charset="2"/>
              </a:rPr>
              <a:t>that</a:t>
            </a:r>
            <a:r>
              <a:rPr lang="de-DE" sz="2000" dirty="0">
                <a:latin typeface="+mn-lt"/>
                <a:sym typeface="Wingdings" pitchFamily="2" charset="2"/>
              </a:rPr>
              <a:t> </a:t>
            </a:r>
            <a:r>
              <a:rPr lang="de-DE" sz="2000" dirty="0" err="1">
                <a:latin typeface="+mn-lt"/>
                <a:sym typeface="Wingdings" pitchFamily="2" charset="2"/>
              </a:rPr>
              <a:t>doesn‘t</a:t>
            </a:r>
            <a:r>
              <a:rPr lang="de-DE" sz="2000" dirty="0">
                <a:latin typeface="+mn-lt"/>
                <a:sym typeface="Wingdings" pitchFamily="2" charset="2"/>
              </a:rPr>
              <a:t> </a:t>
            </a:r>
            <a:r>
              <a:rPr lang="de-DE" sz="2000" dirty="0" err="1">
                <a:latin typeface="+mn-lt"/>
                <a:sym typeface="Wingdings" pitchFamily="2" charset="2"/>
              </a:rPr>
              <a:t>offer</a:t>
            </a:r>
            <a:r>
              <a:rPr lang="de-DE" sz="2000" dirty="0">
                <a:latin typeface="+mn-lt"/>
                <a:sym typeface="Wingdings" pitchFamily="2" charset="2"/>
              </a:rPr>
              <a:t> </a:t>
            </a:r>
            <a:r>
              <a:rPr lang="de-DE" sz="2000" dirty="0" err="1">
                <a:latin typeface="+mn-lt"/>
                <a:sym typeface="Wingdings" pitchFamily="2" charset="2"/>
              </a:rPr>
              <a:t>that</a:t>
            </a:r>
            <a:r>
              <a:rPr lang="de-DE" sz="2000" dirty="0">
                <a:latin typeface="+mn-lt"/>
                <a:sym typeface="Wingdings" pitchFamily="2" charset="2"/>
              </a:rPr>
              <a:t> </a:t>
            </a:r>
            <a:r>
              <a:rPr lang="de-DE" sz="2000" dirty="0" err="1" smtClean="0">
                <a:latin typeface="+mn-lt"/>
                <a:sym typeface="Wingdings" pitchFamily="2" charset="2"/>
              </a:rPr>
              <a:t>sizes</a:t>
            </a:r>
            <a:r>
              <a:rPr lang="de-DE" sz="2000" dirty="0" smtClean="0">
                <a:latin typeface="+mn-lt"/>
                <a:sym typeface="Wingdings" pitchFamily="2" charset="2"/>
              </a:rPr>
              <a:t> </a:t>
            </a:r>
            <a:endParaRPr lang="de-DE" sz="2000" dirty="0">
              <a:latin typeface="+mn-lt"/>
            </a:endParaRPr>
          </a:p>
        </p:txBody>
      </p:sp>
      <p:graphicFrame>
        <p:nvGraphicFramePr>
          <p:cNvPr id="2" name="Tabelle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96583814"/>
              </p:ext>
            </p:extLst>
          </p:nvPr>
        </p:nvGraphicFramePr>
        <p:xfrm>
          <a:off x="1258773" y="2268129"/>
          <a:ext cx="8122718" cy="336077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10521"/>
                <a:gridCol w="612041"/>
                <a:gridCol w="617517"/>
                <a:gridCol w="570016"/>
                <a:gridCol w="581891"/>
                <a:gridCol w="629392"/>
                <a:gridCol w="629392"/>
                <a:gridCol w="724395"/>
                <a:gridCol w="665018"/>
                <a:gridCol w="665018"/>
                <a:gridCol w="617517"/>
              </a:tblGrid>
              <a:tr h="1120258"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NS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3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4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5.5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7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8.5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0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15</a:t>
                      </a:r>
                      <a:endParaRPr lang="de-DE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dirty="0" smtClean="0"/>
                        <a:t>20</a:t>
                      </a:r>
                      <a:endParaRPr lang="de-DE" dirty="0"/>
                    </a:p>
                  </a:txBody>
                  <a:tcPr anchor="ctr"/>
                </a:tc>
              </a:tr>
              <a:tr h="1120258"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4000" b="1" dirty="0" smtClean="0"/>
                        <a:t>X</a:t>
                      </a:r>
                      <a:endParaRPr lang="de-DE" sz="4000" b="1" dirty="0"/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0" b="1" dirty="0"/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4000" b="1" dirty="0" smtClean="0"/>
                        <a:t>X</a:t>
                      </a:r>
                      <a:endParaRPr lang="de-DE" sz="4000" b="1" dirty="0"/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de-DE" sz="4000" b="1" dirty="0"/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de-DE" sz="4000" b="1" dirty="0" smtClean="0"/>
                        <a:t>X</a:t>
                      </a:r>
                      <a:endParaRPr lang="de-DE" sz="4000" b="1" dirty="0"/>
                    </a:p>
                  </a:txBody>
                  <a:tcPr anchor="ctr"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  <a:tr h="1120258">
                <a:tc>
                  <a:txBody>
                    <a:bodyPr/>
                    <a:lstStyle/>
                    <a:p>
                      <a:pPr algn="ctr"/>
                      <a:r>
                        <a:rPr lang="de-DE" b="1" dirty="0" err="1" smtClean="0"/>
                        <a:t>Competitors</a:t>
                      </a:r>
                      <a:endParaRPr lang="de-DE" b="1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endParaRPr lang="de-DE" dirty="0"/>
                    </a:p>
                  </a:txBody>
                  <a:tcPr>
                    <a:solidFill>
                      <a:srgbClr val="00B050"/>
                    </a:solidFill>
                  </a:tcPr>
                </a:tc>
              </a:tr>
            </a:tbl>
          </a:graphicData>
        </a:graphic>
      </p:graphicFrame>
      <p:pic>
        <p:nvPicPr>
          <p:cNvPr id="9218" name="Picture 2" descr="https://pbs.twimg.com/profile_images/890878393/ACO.gif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06777" y="3353386"/>
            <a:ext cx="1212655" cy="121265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3" name="Gruppieren 12"/>
          <p:cNvGrpSpPr>
            <a:grpSpLocks noChangeAspect="1"/>
          </p:cNvGrpSpPr>
          <p:nvPr/>
        </p:nvGrpSpPr>
        <p:grpSpPr>
          <a:xfrm>
            <a:off x="888623" y="1478203"/>
            <a:ext cx="3137112" cy="612563"/>
            <a:chOff x="148403" y="259210"/>
            <a:chExt cx="5572414" cy="647994"/>
          </a:xfrm>
          <a:solidFill>
            <a:srgbClr val="5F5F5F"/>
          </a:solidFill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4" name="Abgerundetes Rechteck 13"/>
            <p:cNvSpPr/>
            <p:nvPr/>
          </p:nvSpPr>
          <p:spPr>
            <a:xfrm>
              <a:off x="148403" y="259210"/>
              <a:ext cx="5572414" cy="647994"/>
            </a:xfrm>
            <a:prstGeom prst="roundRect">
              <a:avLst/>
            </a:prstGeom>
            <a:grpFill/>
            <a:ln w="0">
              <a:noFill/>
            </a:ln>
            <a:effectLst>
              <a:glow>
                <a:schemeClr val="accent3">
                  <a:satMod val="175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  <a:reflection endPos="0" dir="5400000" sy="-100000" algn="bl" rotWithShape="0"/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</p:sp>
        <p:sp>
          <p:nvSpPr>
            <p:cNvPr id="15" name="Abgerundetes Rechteck 4"/>
            <p:cNvSpPr/>
            <p:nvPr/>
          </p:nvSpPr>
          <p:spPr>
            <a:xfrm>
              <a:off x="180035" y="290842"/>
              <a:ext cx="5509150" cy="584730"/>
            </a:xfrm>
            <a:prstGeom prst="rect">
              <a:avLst/>
            </a:prstGeom>
            <a:grpFill/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08000" tIns="75600" rIns="108000" bIns="75600" spcCol="1270" anchor="ctr"/>
            <a:lstStyle/>
            <a:p>
              <a:pPr defTabSz="622389">
                <a:lnSpc>
                  <a:spcPct val="90000"/>
                </a:lnSpc>
                <a:spcAft>
                  <a:spcPct val="35000"/>
                </a:spcAft>
                <a:defRPr/>
              </a:pP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Useful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</a:t>
              </a:r>
              <a:r>
                <a:rPr lang="de-DE" sz="2000" b="1" dirty="0" err="1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Remarks</a:t>
              </a:r>
              <a:r>
                <a:rPr lang="de-DE" sz="2000" b="1" dirty="0" smtClean="0">
                  <a:ln w="3175">
                    <a:noFill/>
                  </a:ln>
                  <a:solidFill>
                    <a:schemeClr val="bg1"/>
                  </a:solidFill>
                  <a:effectLst>
                    <a:innerShdw blurRad="63500" dist="50800" dir="13500000">
                      <a:prstClr val="black">
                        <a:alpha val="50000"/>
                      </a:prstClr>
                    </a:innerShdw>
                  </a:effectLst>
                </a:rPr>
                <a:t> III:</a:t>
              </a:r>
              <a:endParaRPr lang="de-DE" sz="2000" b="1" dirty="0">
                <a:ln w="3175">
                  <a:noFill/>
                </a:ln>
                <a:solidFill>
                  <a:schemeClr val="bg1"/>
                </a:solidFill>
                <a:effectLst>
                  <a:innerShdw blurRad="63500" dist="50800" dir="13500000">
                    <a:prstClr val="black">
                      <a:alpha val="50000"/>
                    </a:prstClr>
                  </a:innerShdw>
                </a:effectLst>
              </a:endParaRPr>
            </a:p>
          </p:txBody>
        </p:sp>
      </p:grpSp>
      <p:sp>
        <p:nvSpPr>
          <p:cNvPr id="16" name="Rectangle 3"/>
          <p:cNvSpPr txBox="1">
            <a:spLocks noChangeArrowheads="1"/>
          </p:cNvSpPr>
          <p:nvPr/>
        </p:nvSpPr>
        <p:spPr bwMode="auto">
          <a:xfrm>
            <a:off x="2562605" y="424882"/>
            <a:ext cx="6257893" cy="39413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1pPr>
            <a:lvl2pPr marL="742950" indent="-28575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2pPr>
            <a:lvl3pPr marL="11430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3pPr>
            <a:lvl4pPr marL="16002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4pPr>
            <a:lvl5pPr marL="2057400" indent="-228600" algn="ctr" defTabSz="1504950" eaLnBrk="0" hangingPunct="0">
              <a:defRPr sz="3100">
                <a:solidFill>
                  <a:schemeClr val="tx1"/>
                </a:solidFill>
                <a:latin typeface="Verdana" pitchFamily="34" charset="0"/>
              </a:defRPr>
            </a:lvl5pPr>
            <a:lvl6pPr marL="25146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6pPr>
            <a:lvl7pPr marL="29718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7pPr>
            <a:lvl8pPr marL="34290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8pPr>
            <a:lvl9pPr marL="3886200" indent="-228600" algn="ctr" defTabSz="1504950" eaLnBrk="0" fontAlgn="base" hangingPunct="0">
              <a:spcBef>
                <a:spcPct val="0"/>
              </a:spcBef>
              <a:spcAft>
                <a:spcPct val="0"/>
              </a:spcAft>
              <a:defRPr sz="3100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pPr algn="l" eaLnBrk="1" hangingPunct="1">
              <a:lnSpc>
                <a:spcPct val="110000"/>
              </a:lnSpc>
              <a:spcAft>
                <a:spcPts val="3430"/>
              </a:spcAft>
              <a:buClr>
                <a:schemeClr val="accent2"/>
              </a:buClr>
            </a:pPr>
            <a:r>
              <a:rPr lang="de-DE" sz="2100" b="1" dirty="0" smtClean="0"/>
              <a:t>Further Information</a:t>
            </a:r>
            <a:endParaRPr lang="de-DE" sz="2100" b="1" dirty="0"/>
          </a:p>
        </p:txBody>
      </p:sp>
    </p:spTree>
    <p:extLst>
      <p:ext uri="{BB962C8B-B14F-4D97-AF65-F5344CB8AC3E}">
        <p14:creationId xmlns:p14="http://schemas.microsoft.com/office/powerpoint/2010/main" val="35632753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smtClean="0">
                <a:solidFill>
                  <a:srgbClr val="000000"/>
                </a:solidFill>
              </a:rPr>
            </a:br>
            <a:r>
              <a:rPr 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717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/>
          <a:p>
            <a:endParaRPr lang="de-DE"/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1609725" y="2260600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endParaRPr lang="de-DE" sz="4000" b="1" dirty="0" smtClean="0">
              <a:solidFill>
                <a:schemeClr val="bg1"/>
              </a:solidFill>
            </a:endParaRPr>
          </a:p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4000" b="1" dirty="0" smtClean="0">
                <a:solidFill>
                  <a:schemeClr val="bg1"/>
                </a:solidFill>
              </a:rPr>
              <a:t>Further </a:t>
            </a:r>
            <a:r>
              <a:rPr lang="de-DE" sz="4000" b="1" dirty="0" err="1" smtClean="0">
                <a:solidFill>
                  <a:schemeClr val="bg1"/>
                </a:solidFill>
              </a:rPr>
              <a:t>questions</a:t>
            </a:r>
            <a:r>
              <a:rPr lang="de-DE" sz="4000" b="1" dirty="0" smtClean="0">
                <a:solidFill>
                  <a:schemeClr val="bg1"/>
                </a:solidFill>
              </a:rPr>
              <a:t> ?</a:t>
            </a:r>
            <a:endParaRPr lang="de-DE" sz="4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5282591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2787" name="Text Box 35"/>
          <p:cNvSpPr txBox="1">
            <a:spLocks noChangeArrowheads="1"/>
          </p:cNvSpPr>
          <p:nvPr/>
        </p:nvSpPr>
        <p:spPr bwMode="auto">
          <a:xfrm>
            <a:off x="273379" y="1793986"/>
            <a:ext cx="8571543" cy="35393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700" b="1" u="sng" dirty="0" err="1" smtClean="0"/>
              <a:t>Inlet</a:t>
            </a:r>
            <a:r>
              <a:rPr lang="de-DE" sz="1700" b="1" dirty="0" smtClean="0"/>
              <a:t>: Volume rate in l/s </a:t>
            </a:r>
            <a:r>
              <a:rPr lang="de-DE" sz="1700" b="1" dirty="0" err="1" smtClean="0"/>
              <a:t>determines</a:t>
            </a:r>
            <a:r>
              <a:rPr lang="de-DE" sz="1700" b="1" dirty="0" smtClean="0"/>
              <a:t> </a:t>
            </a:r>
            <a:r>
              <a:rPr lang="de-DE" sz="1700" b="1" dirty="0" err="1" smtClean="0"/>
              <a:t>the</a:t>
            </a:r>
            <a:r>
              <a:rPr lang="de-DE" sz="1700" b="1" dirty="0" smtClean="0"/>
              <a:t> nominal </a:t>
            </a:r>
            <a:r>
              <a:rPr lang="de-DE" sz="1700" b="1" dirty="0" err="1" smtClean="0"/>
              <a:t>size</a:t>
            </a:r>
            <a:r>
              <a:rPr lang="de-DE" sz="1700" b="1" dirty="0" smtClean="0"/>
              <a:t> </a:t>
            </a:r>
            <a:r>
              <a:rPr lang="de-DE" sz="1700" b="1" dirty="0" err="1" smtClean="0"/>
              <a:t>of</a:t>
            </a:r>
            <a:r>
              <a:rPr lang="de-DE" sz="1700" b="1" dirty="0" smtClean="0"/>
              <a:t> </a:t>
            </a:r>
            <a:r>
              <a:rPr lang="de-DE" sz="1700" b="1" dirty="0" err="1" smtClean="0"/>
              <a:t>the</a:t>
            </a:r>
            <a:r>
              <a:rPr lang="de-DE" sz="1700" b="1" dirty="0" smtClean="0"/>
              <a:t> </a:t>
            </a:r>
            <a:r>
              <a:rPr lang="de-DE" sz="1700" b="1" dirty="0" err="1" smtClean="0"/>
              <a:t>grease</a:t>
            </a:r>
            <a:r>
              <a:rPr lang="de-DE" sz="1700" b="1" dirty="0" smtClean="0"/>
              <a:t> </a:t>
            </a:r>
            <a:r>
              <a:rPr lang="de-DE" sz="1700" b="1" dirty="0" err="1" smtClean="0"/>
              <a:t>separator</a:t>
            </a:r>
            <a:endParaRPr lang="de-DE" sz="1700" b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0885" y="2930530"/>
            <a:ext cx="5493743" cy="40840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25" name="Gerade Verbindung mit Pfeil 24"/>
          <p:cNvCxnSpPr/>
          <p:nvPr/>
        </p:nvCxnSpPr>
        <p:spPr bwMode="auto">
          <a:xfrm flipV="1">
            <a:off x="890897" y="3982325"/>
            <a:ext cx="2830614" cy="8952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9" name="Gerade Verbindung 8"/>
          <p:cNvCxnSpPr/>
          <p:nvPr/>
        </p:nvCxnSpPr>
        <p:spPr bwMode="auto">
          <a:xfrm>
            <a:off x="890897" y="2327621"/>
            <a:ext cx="0" cy="1654704"/>
          </a:xfrm>
          <a:prstGeom prst="line">
            <a:avLst/>
          </a:prstGeom>
          <a:solidFill>
            <a:schemeClr val="accent1"/>
          </a:solidFill>
          <a:ln w="76200" cap="flat" cmpd="sng" algn="ctr">
            <a:solidFill>
              <a:srgbClr val="0070C0"/>
            </a:solidFill>
            <a:prstDash val="solid"/>
            <a:round/>
            <a:headEnd type="none" w="med" len="med"/>
            <a:tailEnd type="none" w="med" len="med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1" name="Titel 1"/>
          <p:cNvSpPr>
            <a:spLocks noGrp="1"/>
          </p:cNvSpPr>
          <p:nvPr>
            <p:ph type="title"/>
          </p:nvPr>
        </p:nvSpPr>
        <p:spPr>
          <a:xfrm>
            <a:off x="2649899" y="228600"/>
            <a:ext cx="6848166" cy="704850"/>
          </a:xfrm>
        </p:spPr>
        <p:txBody>
          <a:bodyPr/>
          <a:lstStyle/>
          <a:p>
            <a:r>
              <a:rPr lang="de-DE" dirty="0" err="1" smtClean="0"/>
              <a:t>Dimensioning</a:t>
            </a:r>
            <a:r>
              <a:rPr lang="de-DE" dirty="0" smtClean="0"/>
              <a:t>: Determination </a:t>
            </a:r>
            <a:r>
              <a:rPr lang="de-DE" dirty="0" err="1" smtClean="0"/>
              <a:t>of</a:t>
            </a:r>
            <a:r>
              <a:rPr lang="de-DE" dirty="0" smtClean="0"/>
              <a:t> Nominal Siz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780502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2" name="Rectangle 2"/>
          <p:cNvSpPr>
            <a:spLocks noChangeArrowheads="1"/>
          </p:cNvSpPr>
          <p:nvPr/>
        </p:nvSpPr>
        <p:spPr bwMode="auto">
          <a:xfrm>
            <a:off x="2336800" y="2998525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/>
          <a:p>
            <a:pPr marL="1588" lvl="1" defTabSz="1054100">
              <a:lnSpc>
                <a:spcPts val="2200"/>
              </a:lnSpc>
              <a:buClr>
                <a:schemeClr val="tx1"/>
              </a:buClr>
              <a:buSzPct val="90000"/>
              <a:buFont typeface="StoneSans-Bold" pitchFamily="2" charset="0"/>
              <a:buNone/>
            </a:pPr>
            <a:endParaRPr lang="de-DE" sz="1600" b="1"/>
          </a:p>
        </p:txBody>
      </p:sp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pic>
        <p:nvPicPr>
          <p:cNvPr id="1571852" name="Picture 12" descr="versorgung_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" y="4268525"/>
            <a:ext cx="2921000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00" y="4268525"/>
            <a:ext cx="2921000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571855" name="Picture 15" descr="Schweineschlachtu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4268525"/>
            <a:ext cx="2890837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Titel 1"/>
          <p:cNvSpPr txBox="1">
            <a:spLocks/>
          </p:cNvSpPr>
          <p:nvPr/>
        </p:nvSpPr>
        <p:spPr bwMode="auto">
          <a:xfrm>
            <a:off x="2668028" y="279029"/>
            <a:ext cx="6848166" cy="7048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dirty="0" err="1"/>
              <a:t>Dimensioning</a:t>
            </a:r>
            <a:r>
              <a:rPr lang="de-DE" dirty="0"/>
              <a:t> (EN 1825</a:t>
            </a:r>
            <a:r>
              <a:rPr lang="de-DE" dirty="0" smtClean="0"/>
              <a:t>)</a:t>
            </a:r>
          </a:p>
          <a:p>
            <a:r>
              <a:rPr lang="de-DE" kern="0" dirty="0" smtClean="0"/>
              <a:t>European Standard</a:t>
            </a:r>
            <a:endParaRPr lang="de-DE" kern="0" dirty="0"/>
          </a:p>
        </p:txBody>
      </p:sp>
      <p:grpSp>
        <p:nvGrpSpPr>
          <p:cNvPr id="14" name="Gruppieren 13"/>
          <p:cNvGrpSpPr/>
          <p:nvPr/>
        </p:nvGrpSpPr>
        <p:grpSpPr>
          <a:xfrm>
            <a:off x="723900" y="1417335"/>
            <a:ext cx="9060873" cy="753339"/>
            <a:chOff x="148403" y="259210"/>
            <a:chExt cx="5572414" cy="647994"/>
          </a:xfrm>
          <a:solidFill>
            <a:srgbClr val="5F5F5F"/>
          </a:solidFill>
          <a:effectLst/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</p:grpSpPr>
        <p:sp>
          <p:nvSpPr>
            <p:cNvPr id="15" name="Abgerundetes Rechteck 14"/>
            <p:cNvSpPr/>
            <p:nvPr/>
          </p:nvSpPr>
          <p:spPr>
            <a:xfrm>
              <a:off x="148403" y="259210"/>
              <a:ext cx="5572414" cy="647994"/>
            </a:xfrm>
            <a:prstGeom prst="roundRect">
              <a:avLst/>
            </a:prstGeom>
            <a:grpFill/>
            <a:ln w="0">
              <a:noFill/>
            </a:ln>
            <a:effectLst>
              <a:glow>
                <a:schemeClr val="accent3">
                  <a:satMod val="175000"/>
                </a:schemeClr>
              </a:glow>
              <a:outerShdw blurRad="44450" dist="27940" dir="5400000" algn="ctr">
                <a:srgbClr val="000000">
                  <a:alpha val="32000"/>
                </a:srgbClr>
              </a:outerShdw>
              <a:reflection endPos="0" dir="5400000" sy="-100000" algn="bl" rotWithShape="0"/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3">
              <a:scrgbClr r="0" g="0" b="0"/>
            </a:fillRef>
            <a:effectRef idx="2">
              <a:scrgbClr r="0" g="0" b="0"/>
            </a:effectRef>
            <a:fontRef idx="minor">
              <a:schemeClr val="lt1"/>
            </a:fontRef>
          </p:style>
        </p:sp>
        <p:sp>
          <p:nvSpPr>
            <p:cNvPr id="16" name="Abgerundetes Rechteck 4"/>
            <p:cNvSpPr/>
            <p:nvPr/>
          </p:nvSpPr>
          <p:spPr>
            <a:xfrm>
              <a:off x="180035" y="290842"/>
              <a:ext cx="5509150" cy="584730"/>
            </a:xfrm>
            <a:prstGeom prst="rect">
              <a:avLst/>
            </a:prstGeom>
            <a:grpFill/>
            <a:ln w="0">
              <a:noFill/>
            </a:ln>
            <a:effectLst>
              <a:outerShdw blurRad="44450" dist="27940" dir="5400000" algn="ctr">
                <a:srgbClr val="000000">
                  <a:alpha val="32000"/>
                </a:srgbClr>
              </a:outerShdw>
            </a:effectLst>
            <a:sp3d>
              <a:bevelT w="190500" h="38100"/>
            </a:sp3d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wrap="none" lIns="108000" tIns="75600" rIns="108000" bIns="75600" spcCol="1270" anchor="ctr"/>
            <a:lstStyle/>
            <a:p>
              <a:pPr algn="ctr"/>
              <a:r>
                <a:rPr lang="en-GB" sz="2800" b="1" dirty="0"/>
                <a:t>Types of dimensioning the grease separator</a:t>
              </a:r>
              <a:endParaRPr lang="de-DE" sz="2800" dirty="0"/>
            </a:p>
          </p:txBody>
        </p:sp>
      </p:grpSp>
      <p:sp>
        <p:nvSpPr>
          <p:cNvPr id="17" name="Rectangle 6"/>
          <p:cNvSpPr>
            <a:spLocks noChangeArrowheads="1"/>
          </p:cNvSpPr>
          <p:nvPr/>
        </p:nvSpPr>
        <p:spPr bwMode="auto">
          <a:xfrm>
            <a:off x="723074" y="3062025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Based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> on</a:t>
            </a:r>
            <a:br>
              <a:rPr lang="de-DE" sz="2000" b="1" dirty="0">
                <a:solidFill>
                  <a:schemeClr val="bg1"/>
                </a:solidFill>
                <a:latin typeface="+mn-lt"/>
              </a:rPr>
            </a:br>
            <a:r>
              <a:rPr lang="de-DE" sz="20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kitchen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equipment</a:t>
            </a:r>
            <a:endParaRPr lang="de-DE" sz="2000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8" name="Rectangle 6"/>
          <p:cNvSpPr>
            <a:spLocks noChangeArrowheads="1"/>
          </p:cNvSpPr>
          <p:nvPr/>
        </p:nvSpPr>
        <p:spPr bwMode="auto">
          <a:xfrm>
            <a:off x="3793423" y="3062025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Based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> on </a:t>
            </a:r>
            <a:br>
              <a:rPr lang="de-DE" sz="2000" b="1" dirty="0">
                <a:solidFill>
                  <a:schemeClr val="bg1"/>
                </a:solidFill>
                <a:latin typeface="+mn-lt"/>
              </a:rPr>
            </a:b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meals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> per </a:t>
            </a: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day</a:t>
            </a:r>
            <a:endParaRPr lang="de-DE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19" name="Rectangle 6"/>
          <p:cNvSpPr>
            <a:spLocks noChangeArrowheads="1"/>
          </p:cNvSpPr>
          <p:nvPr/>
        </p:nvSpPr>
        <p:spPr bwMode="auto">
          <a:xfrm>
            <a:off x="6875463" y="3062025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Based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> on </a:t>
            </a:r>
            <a:br>
              <a:rPr lang="de-DE" sz="2000" b="1" dirty="0">
                <a:solidFill>
                  <a:schemeClr val="bg1"/>
                </a:solidFill>
                <a:latin typeface="+mn-lt"/>
              </a:rPr>
            </a:b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number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of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/>
            </a:r>
            <a:br>
              <a:rPr lang="de-DE" sz="2000" b="1" dirty="0">
                <a:solidFill>
                  <a:schemeClr val="bg1"/>
                </a:solidFill>
                <a:latin typeface="+mn-lt"/>
              </a:rPr>
            </a:b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slaughtered</a:t>
            </a:r>
            <a:r>
              <a:rPr lang="de-DE" sz="2000" b="1" dirty="0">
                <a:solidFill>
                  <a:schemeClr val="bg1"/>
                </a:solidFill>
                <a:latin typeface="+mn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n-lt"/>
              </a:rPr>
              <a:t>animals</a:t>
            </a:r>
            <a:endParaRPr lang="de-DE" sz="2000" b="1" dirty="0">
              <a:solidFill>
                <a:schemeClr val="bg1"/>
              </a:solidFill>
              <a:latin typeface="+mn-lt"/>
            </a:endParaRPr>
          </a:p>
        </p:txBody>
      </p:sp>
      <p:sp>
        <p:nvSpPr>
          <p:cNvPr id="20" name="AutoShape 15"/>
          <p:cNvSpPr>
            <a:spLocks noChangeArrowheads="1"/>
          </p:cNvSpPr>
          <p:nvPr/>
        </p:nvSpPr>
        <p:spPr bwMode="auto">
          <a:xfrm>
            <a:off x="1960771" y="2341747"/>
            <a:ext cx="376029" cy="656778"/>
          </a:xfrm>
          <a:prstGeom prst="downArrow">
            <a:avLst>
              <a:gd name="adj1" fmla="val 50000"/>
              <a:gd name="adj2" fmla="val 40344"/>
            </a:avLst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extrusionH="76200" prstMaterial="plastic">
            <a:bevelT w="127000" h="38100"/>
          </a:sp3d>
          <a:extLst/>
        </p:spPr>
        <p:txBody>
          <a:bodyPr wrap="none" anchor="ctr"/>
          <a:lstStyle/>
          <a:p>
            <a:pPr algn="ctr">
              <a:defRPr/>
            </a:pPr>
            <a:endParaRPr lang="de-DE">
              <a:cs typeface="+mn-cs"/>
            </a:endParaRPr>
          </a:p>
        </p:txBody>
      </p:sp>
      <p:sp>
        <p:nvSpPr>
          <p:cNvPr id="21" name="AutoShape 15"/>
          <p:cNvSpPr>
            <a:spLocks noChangeArrowheads="1"/>
          </p:cNvSpPr>
          <p:nvPr/>
        </p:nvSpPr>
        <p:spPr bwMode="auto">
          <a:xfrm>
            <a:off x="5066321" y="2341747"/>
            <a:ext cx="376029" cy="656778"/>
          </a:xfrm>
          <a:prstGeom prst="downArrow">
            <a:avLst>
              <a:gd name="adj1" fmla="val 50000"/>
              <a:gd name="adj2" fmla="val 40344"/>
            </a:avLst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extrusionH="76200" prstMaterial="plastic">
            <a:bevelT w="127000" h="38100"/>
          </a:sp3d>
          <a:extLst/>
        </p:spPr>
        <p:txBody>
          <a:bodyPr wrap="none" anchor="ctr"/>
          <a:lstStyle/>
          <a:p>
            <a:pPr algn="ctr">
              <a:defRPr/>
            </a:pPr>
            <a:endParaRPr lang="de-DE">
              <a:cs typeface="+mn-cs"/>
            </a:endParaRPr>
          </a:p>
        </p:txBody>
      </p:sp>
      <p:sp>
        <p:nvSpPr>
          <p:cNvPr id="22" name="AutoShape 15"/>
          <p:cNvSpPr>
            <a:spLocks noChangeArrowheads="1"/>
          </p:cNvSpPr>
          <p:nvPr/>
        </p:nvSpPr>
        <p:spPr bwMode="auto">
          <a:xfrm>
            <a:off x="8117785" y="2341747"/>
            <a:ext cx="376029" cy="656778"/>
          </a:xfrm>
          <a:prstGeom prst="downArrow">
            <a:avLst>
              <a:gd name="adj1" fmla="val 50000"/>
              <a:gd name="adj2" fmla="val 40344"/>
            </a:avLst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/>
          </a:scene3d>
          <a:sp3d extrusionH="76200" prstMaterial="plastic">
            <a:bevelT w="127000" h="38100"/>
          </a:sp3d>
          <a:extLst/>
        </p:spPr>
        <p:txBody>
          <a:bodyPr wrap="none" anchor="ctr"/>
          <a:lstStyle/>
          <a:p>
            <a:pPr algn="ctr">
              <a:defRPr/>
            </a:pPr>
            <a:endParaRPr lang="de-DE">
              <a:cs typeface="+mn-cs"/>
            </a:endParaRPr>
          </a:p>
        </p:txBody>
      </p:sp>
      <p:sp>
        <p:nvSpPr>
          <p:cNvPr id="2" name="Ellipse 1"/>
          <p:cNvSpPr/>
          <p:nvPr/>
        </p:nvSpPr>
        <p:spPr bwMode="auto">
          <a:xfrm>
            <a:off x="95003" y="2670136"/>
            <a:ext cx="7445827" cy="4621313"/>
          </a:xfrm>
          <a:prstGeom prst="ellipse">
            <a:avLst/>
          </a:prstGeom>
          <a:noFill/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</p:spTree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185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18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9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185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7" grpId="0" animBg="1"/>
      <p:bldP spid="18" grpId="0" animBg="1"/>
      <p:bldP spid="19" grpId="0" animBg="1"/>
      <p:bldP spid="2" grpId="0" animBg="1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2" name="Rectangle 2"/>
          <p:cNvSpPr>
            <a:spLocks noChangeArrowheads="1"/>
          </p:cNvSpPr>
          <p:nvPr/>
        </p:nvSpPr>
        <p:spPr bwMode="auto">
          <a:xfrm>
            <a:off x="2396175" y="1276650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/>
          <a:p>
            <a:pPr marL="1588" lvl="1" defTabSz="1054100">
              <a:lnSpc>
                <a:spcPts val="2200"/>
              </a:lnSpc>
              <a:buClr>
                <a:schemeClr val="tx1"/>
              </a:buClr>
              <a:buSzPct val="90000"/>
              <a:buFont typeface="StoneSans-Bold" pitchFamily="2" charset="0"/>
              <a:buNone/>
            </a:pPr>
            <a:endParaRPr lang="de-DE" sz="1600" b="1"/>
          </a:p>
        </p:txBody>
      </p:sp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>
          <a:xfrm>
            <a:off x="2614715" y="228600"/>
            <a:ext cx="6513513" cy="704850"/>
          </a:xfrm>
        </p:spPr>
        <p:txBody>
          <a:bodyPr/>
          <a:lstStyle/>
          <a:p>
            <a:r>
              <a:rPr lang="de-DE" dirty="0" err="1"/>
              <a:t>Dimensioning</a:t>
            </a:r>
            <a:r>
              <a:rPr lang="de-DE" dirty="0"/>
              <a:t> (EN 1825)</a:t>
            </a:r>
            <a:br>
              <a:rPr lang="de-DE" dirty="0"/>
            </a:br>
            <a:r>
              <a:rPr lang="de-DE" dirty="0"/>
              <a:t>European Standard</a:t>
            </a:r>
          </a:p>
        </p:txBody>
      </p:sp>
      <p:sp>
        <p:nvSpPr>
          <p:cNvPr id="2" name="Geschweifte Klammer rechts 1"/>
          <p:cNvSpPr/>
          <p:nvPr/>
        </p:nvSpPr>
        <p:spPr bwMode="auto">
          <a:xfrm rot="5400000">
            <a:off x="5091378" y="2046354"/>
            <a:ext cx="438724" cy="6298869"/>
          </a:xfrm>
          <a:prstGeom prst="rightBrace">
            <a:avLst/>
          </a:prstGeom>
          <a:noFill/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3" name="Textfeld 2"/>
          <p:cNvSpPr txBox="1"/>
          <p:nvPr/>
        </p:nvSpPr>
        <p:spPr>
          <a:xfrm>
            <a:off x="4488878" y="5439567"/>
            <a:ext cx="20900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 smtClean="0"/>
              <a:t>FLOW RATE (l/s)</a:t>
            </a:r>
            <a:endParaRPr lang="de-DE" sz="1800" b="1" dirty="0"/>
          </a:p>
        </p:txBody>
      </p:sp>
      <p:sp>
        <p:nvSpPr>
          <p:cNvPr id="4" name="Pfeil nach unten 3"/>
          <p:cNvSpPr/>
          <p:nvPr/>
        </p:nvSpPr>
        <p:spPr bwMode="auto">
          <a:xfrm>
            <a:off x="5177643" y="5808899"/>
            <a:ext cx="290959" cy="384356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  <p:sp>
        <p:nvSpPr>
          <p:cNvPr id="15" name="Textfeld 14"/>
          <p:cNvSpPr txBox="1"/>
          <p:nvPr/>
        </p:nvSpPr>
        <p:spPr>
          <a:xfrm>
            <a:off x="3901060" y="7058135"/>
            <a:ext cx="3645696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u="sng" dirty="0" smtClean="0"/>
              <a:t>NOMINAL SIZE (NS</a:t>
            </a:r>
            <a:r>
              <a:rPr lang="de-DE" sz="2400" b="1" dirty="0" smtClean="0"/>
              <a:t>)</a:t>
            </a:r>
            <a:endParaRPr lang="de-DE" sz="2400" b="1" dirty="0"/>
          </a:p>
        </p:txBody>
      </p:sp>
      <p:sp>
        <p:nvSpPr>
          <p:cNvPr id="16" name="Rectangle 2"/>
          <p:cNvSpPr>
            <a:spLocks noChangeArrowheads="1"/>
          </p:cNvSpPr>
          <p:nvPr/>
        </p:nvSpPr>
        <p:spPr bwMode="auto">
          <a:xfrm>
            <a:off x="2336800" y="1347900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/>
          <a:p>
            <a:pPr marL="1588" lvl="1" defTabSz="1054100">
              <a:lnSpc>
                <a:spcPts val="2200"/>
              </a:lnSpc>
              <a:buClr>
                <a:schemeClr val="tx1"/>
              </a:buClr>
              <a:buSzPct val="90000"/>
              <a:buFont typeface="StoneSans-Bold" pitchFamily="2" charset="0"/>
              <a:buNone/>
            </a:pPr>
            <a:endParaRPr lang="de-DE" sz="1600" b="1"/>
          </a:p>
        </p:txBody>
      </p:sp>
      <p:pic>
        <p:nvPicPr>
          <p:cNvPr id="17" name="Picture 12" descr="versorgung_0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3900" y="2617900"/>
            <a:ext cx="2921000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4" descr="bodenseebraten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84600" y="2617900"/>
            <a:ext cx="2921000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5" descr="Schweineschlachtun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75463" y="2617900"/>
            <a:ext cx="2890837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0" name="Rectangle 6"/>
          <p:cNvSpPr>
            <a:spLocks noChangeArrowheads="1"/>
          </p:cNvSpPr>
          <p:nvPr/>
        </p:nvSpPr>
        <p:spPr bwMode="auto">
          <a:xfrm>
            <a:off x="723074" y="1411400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Based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> on</a:t>
            </a:r>
            <a:br>
              <a:rPr lang="de-DE" sz="2000" b="1" dirty="0">
                <a:solidFill>
                  <a:schemeClr val="bg1"/>
                </a:solidFill>
                <a:latin typeface="+mj-lt"/>
              </a:rPr>
            </a:br>
            <a:r>
              <a:rPr lang="de-DE" sz="2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kitchen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equipment</a:t>
            </a:r>
            <a:endParaRPr lang="de-DE" sz="200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1" name="Rectangle 6"/>
          <p:cNvSpPr>
            <a:spLocks noChangeArrowheads="1"/>
          </p:cNvSpPr>
          <p:nvPr/>
        </p:nvSpPr>
        <p:spPr bwMode="auto">
          <a:xfrm>
            <a:off x="3793423" y="1411400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Based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> on </a:t>
            </a:r>
            <a:br>
              <a:rPr lang="de-DE" sz="2000" b="1" dirty="0">
                <a:solidFill>
                  <a:schemeClr val="bg1"/>
                </a:solidFill>
                <a:latin typeface="+mj-lt"/>
              </a:rPr>
            </a:b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meals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> per </a:t>
            </a: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day</a:t>
            </a:r>
            <a:endParaRPr lang="de-DE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2" name="Rectangle 6"/>
          <p:cNvSpPr>
            <a:spLocks noChangeArrowheads="1"/>
          </p:cNvSpPr>
          <p:nvPr/>
        </p:nvSpPr>
        <p:spPr bwMode="auto">
          <a:xfrm>
            <a:off x="6875463" y="1411400"/>
            <a:ext cx="2921825" cy="1058713"/>
          </a:xfrm>
          <a:prstGeom prst="rect">
            <a:avLst/>
          </a:prstGeom>
          <a:solidFill>
            <a:schemeClr val="bg1">
              <a:lumMod val="50000"/>
            </a:schemeClr>
          </a:solidFill>
          <a:ln w="9525">
            <a:noFill/>
            <a:miter lim="800000"/>
            <a:headEnd/>
            <a:tailEnd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  <a:extLst/>
        </p:spPr>
        <p:txBody>
          <a:bodyPr wrap="none" lIns="0" tIns="0" rIns="0" bIns="0" anchor="ctr"/>
          <a:lstStyle/>
          <a:p>
            <a:pPr algn="ctr"/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Based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> on </a:t>
            </a:r>
            <a:br>
              <a:rPr lang="de-DE" sz="2000" b="1" dirty="0">
                <a:solidFill>
                  <a:schemeClr val="bg1"/>
                </a:solidFill>
                <a:latin typeface="+mj-lt"/>
              </a:rPr>
            </a:b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number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of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/>
            </a:r>
            <a:br>
              <a:rPr lang="de-DE" sz="2000" b="1" dirty="0">
                <a:solidFill>
                  <a:schemeClr val="bg1"/>
                </a:solidFill>
                <a:latin typeface="+mj-lt"/>
              </a:rPr>
            </a:b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slaughtered</a:t>
            </a:r>
            <a:r>
              <a:rPr lang="de-DE" sz="2000" b="1" dirty="0">
                <a:solidFill>
                  <a:schemeClr val="bg1"/>
                </a:solidFill>
                <a:latin typeface="+mj-lt"/>
              </a:rPr>
              <a:t> </a:t>
            </a:r>
            <a:r>
              <a:rPr lang="de-DE" sz="2000" b="1" dirty="0" err="1">
                <a:solidFill>
                  <a:schemeClr val="bg1"/>
                </a:solidFill>
                <a:latin typeface="+mj-lt"/>
              </a:rPr>
              <a:t>animals</a:t>
            </a:r>
            <a:endParaRPr lang="de-DE" sz="2000" b="1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3" name="Textfeld 22"/>
          <p:cNvSpPr txBox="1"/>
          <p:nvPr/>
        </p:nvSpPr>
        <p:spPr>
          <a:xfrm>
            <a:off x="4103383" y="6240755"/>
            <a:ext cx="278978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1800" b="1" dirty="0" smtClean="0"/>
              <a:t>DIFFICULTY FACTORS</a:t>
            </a:r>
            <a:endParaRPr lang="de-DE" sz="1800" b="1" dirty="0"/>
          </a:p>
        </p:txBody>
      </p:sp>
      <p:sp>
        <p:nvSpPr>
          <p:cNvPr id="24" name="Pfeil nach unten 23"/>
          <p:cNvSpPr/>
          <p:nvPr/>
        </p:nvSpPr>
        <p:spPr bwMode="auto">
          <a:xfrm>
            <a:off x="5177643" y="6610087"/>
            <a:ext cx="290959" cy="384356"/>
          </a:xfrm>
          <a:prstGeom prst="downArrow">
            <a:avLst/>
          </a:prstGeom>
          <a:solidFill>
            <a:schemeClr val="accent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575911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82787" name="Text Box 35"/>
          <p:cNvSpPr txBox="1">
            <a:spLocks noChangeArrowheads="1"/>
          </p:cNvSpPr>
          <p:nvPr/>
        </p:nvSpPr>
        <p:spPr bwMode="auto">
          <a:xfrm>
            <a:off x="796557" y="2309632"/>
            <a:ext cx="2553427" cy="113876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700" b="1" dirty="0" err="1" smtClean="0"/>
              <a:t>Inlet</a:t>
            </a:r>
            <a:r>
              <a:rPr lang="de-DE" sz="1700" b="1" dirty="0" smtClean="0"/>
              <a:t>: </a:t>
            </a:r>
          </a:p>
          <a:p>
            <a:pPr algn="ctr">
              <a:spcBef>
                <a:spcPct val="50000"/>
              </a:spcBef>
            </a:pPr>
            <a:r>
              <a:rPr lang="de-DE" sz="1700" dirty="0" err="1" smtClean="0"/>
              <a:t>Determined</a:t>
            </a:r>
            <a:r>
              <a:rPr lang="de-DE" sz="1700" dirty="0" smtClean="0"/>
              <a:t> Volume rate </a:t>
            </a:r>
          </a:p>
          <a:p>
            <a:pPr algn="ctr">
              <a:spcBef>
                <a:spcPct val="50000"/>
              </a:spcBef>
            </a:pPr>
            <a:r>
              <a:rPr lang="de-DE" sz="1700" b="1" dirty="0" smtClean="0"/>
              <a:t>2,85 </a:t>
            </a:r>
            <a:r>
              <a:rPr lang="de-DE" sz="1700" b="1" dirty="0"/>
              <a:t>l/s</a:t>
            </a:r>
          </a:p>
        </p:txBody>
      </p:sp>
      <p:sp>
        <p:nvSpPr>
          <p:cNvPr id="24" name="Titel 1"/>
          <p:cNvSpPr>
            <a:spLocks noGrp="1"/>
          </p:cNvSpPr>
          <p:nvPr>
            <p:ph type="title"/>
          </p:nvPr>
        </p:nvSpPr>
        <p:spPr>
          <a:xfrm>
            <a:off x="2668028" y="279029"/>
            <a:ext cx="6848166" cy="704850"/>
          </a:xfrm>
        </p:spPr>
        <p:txBody>
          <a:bodyPr/>
          <a:lstStyle/>
          <a:p>
            <a:r>
              <a:rPr lang="de-DE" dirty="0" err="1" smtClean="0"/>
              <a:t>Examples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Dimensioning</a:t>
            </a:r>
            <a:endParaRPr lang="de-DE" dirty="0"/>
          </a:p>
        </p:txBody>
      </p:sp>
      <p:pic>
        <p:nvPicPr>
          <p:cNvPr id="2050" name="Picture 2" descr="http://katalog.aco-haustechnik.de/var/aco/storage/ilcatalogue/files/image/prodInfo.right.jpg/IM0004360_prodInfo.right_larg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35486" y="4595285"/>
            <a:ext cx="1432542" cy="14146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Box 35"/>
          <p:cNvSpPr txBox="1">
            <a:spLocks noChangeArrowheads="1"/>
          </p:cNvSpPr>
          <p:nvPr/>
        </p:nvSpPr>
        <p:spPr bwMode="auto">
          <a:xfrm>
            <a:off x="3933007" y="2300680"/>
            <a:ext cx="2650856" cy="113876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700" b="1" dirty="0" err="1" smtClean="0"/>
              <a:t>Inlet</a:t>
            </a:r>
            <a:r>
              <a:rPr lang="de-DE" sz="1700" b="1" dirty="0" smtClean="0"/>
              <a:t>: </a:t>
            </a:r>
          </a:p>
          <a:p>
            <a:pPr algn="ctr">
              <a:spcBef>
                <a:spcPct val="50000"/>
              </a:spcBef>
            </a:pPr>
            <a:r>
              <a:rPr lang="de-DE" sz="1700" dirty="0" err="1" smtClean="0"/>
              <a:t>Determined</a:t>
            </a:r>
            <a:r>
              <a:rPr lang="de-DE" sz="1700" dirty="0" smtClean="0"/>
              <a:t> Volume rate</a:t>
            </a:r>
          </a:p>
          <a:p>
            <a:pPr algn="ctr">
              <a:spcBef>
                <a:spcPct val="50000"/>
              </a:spcBef>
            </a:pPr>
            <a:r>
              <a:rPr lang="de-DE" sz="1700" b="1" dirty="0" smtClean="0"/>
              <a:t> </a:t>
            </a:r>
            <a:r>
              <a:rPr lang="de-DE" sz="1700" b="1" dirty="0"/>
              <a:t>4,8 l/s</a:t>
            </a:r>
          </a:p>
        </p:txBody>
      </p:sp>
      <p:sp>
        <p:nvSpPr>
          <p:cNvPr id="26" name="Text Box 35"/>
          <p:cNvSpPr txBox="1">
            <a:spLocks noChangeArrowheads="1"/>
          </p:cNvSpPr>
          <p:nvPr/>
        </p:nvSpPr>
        <p:spPr bwMode="auto">
          <a:xfrm>
            <a:off x="7191921" y="2282775"/>
            <a:ext cx="2973364" cy="1138769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91436" tIns="45718" rIns="91436" bIns="45718">
            <a:spAutoFit/>
          </a:bodyPr>
          <a:lstStyle/>
          <a:p>
            <a:pPr algn="ctr">
              <a:spcBef>
                <a:spcPct val="50000"/>
              </a:spcBef>
            </a:pPr>
            <a:r>
              <a:rPr lang="de-DE" sz="1700" b="1" dirty="0" err="1" smtClean="0"/>
              <a:t>Inlet</a:t>
            </a:r>
            <a:r>
              <a:rPr lang="de-DE" sz="1700" b="1" dirty="0" smtClean="0"/>
              <a:t>: </a:t>
            </a:r>
          </a:p>
          <a:p>
            <a:pPr algn="ctr">
              <a:spcBef>
                <a:spcPct val="50000"/>
              </a:spcBef>
            </a:pPr>
            <a:r>
              <a:rPr lang="de-DE" sz="1700" dirty="0" err="1" smtClean="0"/>
              <a:t>Determined</a:t>
            </a:r>
            <a:r>
              <a:rPr lang="de-DE" sz="1700" dirty="0" smtClean="0"/>
              <a:t> Volume rate</a:t>
            </a:r>
          </a:p>
          <a:p>
            <a:pPr algn="ctr">
              <a:spcBef>
                <a:spcPct val="50000"/>
              </a:spcBef>
            </a:pPr>
            <a:r>
              <a:rPr lang="de-DE" sz="1700" b="1" dirty="0" smtClean="0"/>
              <a:t> </a:t>
            </a:r>
            <a:r>
              <a:rPr lang="de-DE" sz="1700" b="1" dirty="0"/>
              <a:t>9,3 l/s</a:t>
            </a:r>
          </a:p>
        </p:txBody>
      </p:sp>
      <p:pic>
        <p:nvPicPr>
          <p:cNvPr id="37" name="Picture 2" descr="http://katalog.aco-haustechnik.de/var/aco/storage/ilcatalogue/files/image/prodInfo.right.jpg/IM0004360_prodInfo.right_larg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099182" y="4253104"/>
            <a:ext cx="2125582" cy="20989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8" name="Picture 2" descr="http://katalog.aco-haustechnik.de/var/aco/storage/ilcatalogue/files/image/prodInfo.right.jpg/IM0004360_prodInfo.right_large.jpg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935858" y="3903208"/>
            <a:ext cx="2834249" cy="27987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feld 12"/>
          <p:cNvSpPr txBox="1"/>
          <p:nvPr/>
        </p:nvSpPr>
        <p:spPr>
          <a:xfrm>
            <a:off x="926509" y="6959085"/>
            <a:ext cx="2096055" cy="326253"/>
          </a:xfrm>
          <a:prstGeom prst="rect">
            <a:avLst/>
          </a:prstGeom>
          <a:noFill/>
        </p:spPr>
        <p:txBody>
          <a:bodyPr wrap="square" lIns="64017" tIns="32009" rIns="64017" bIns="32009" rtlCol="0">
            <a:spAutoFit/>
          </a:bodyPr>
          <a:lstStyle/>
          <a:p>
            <a:pPr algn="ctr"/>
            <a:r>
              <a:rPr lang="de-DE" sz="1700" b="1" dirty="0" smtClean="0"/>
              <a:t>Nominal </a:t>
            </a:r>
            <a:r>
              <a:rPr lang="de-DE" sz="1700" b="1" dirty="0" err="1" smtClean="0"/>
              <a:t>size</a:t>
            </a:r>
            <a:r>
              <a:rPr lang="de-DE" sz="1700" b="1" dirty="0" smtClean="0"/>
              <a:t> </a:t>
            </a:r>
            <a:r>
              <a:rPr lang="de-DE" sz="1700" b="1" dirty="0"/>
              <a:t>3</a:t>
            </a:r>
          </a:p>
        </p:txBody>
      </p:sp>
      <p:sp>
        <p:nvSpPr>
          <p:cNvPr id="40" name="Textfeld 39"/>
          <p:cNvSpPr txBox="1"/>
          <p:nvPr/>
        </p:nvSpPr>
        <p:spPr>
          <a:xfrm>
            <a:off x="4067845" y="6950129"/>
            <a:ext cx="2455213" cy="326253"/>
          </a:xfrm>
          <a:prstGeom prst="rect">
            <a:avLst/>
          </a:prstGeom>
          <a:noFill/>
        </p:spPr>
        <p:txBody>
          <a:bodyPr wrap="square" lIns="64017" tIns="32009" rIns="64017" bIns="32009" rtlCol="0">
            <a:spAutoFit/>
          </a:bodyPr>
          <a:lstStyle/>
          <a:p>
            <a:pPr algn="ctr"/>
            <a:r>
              <a:rPr lang="de-DE" sz="1700" b="1" dirty="0" smtClean="0"/>
              <a:t>Nominal </a:t>
            </a:r>
            <a:r>
              <a:rPr lang="de-DE" sz="1700" b="1" dirty="0" err="1" smtClean="0"/>
              <a:t>size</a:t>
            </a:r>
            <a:r>
              <a:rPr lang="de-DE" sz="1700" b="1" dirty="0" smtClean="0"/>
              <a:t> </a:t>
            </a:r>
            <a:r>
              <a:rPr lang="de-DE" sz="1700" b="1" dirty="0"/>
              <a:t>5,5</a:t>
            </a:r>
          </a:p>
        </p:txBody>
      </p:sp>
      <p:sp>
        <p:nvSpPr>
          <p:cNvPr id="41" name="Textfeld 40"/>
          <p:cNvSpPr txBox="1"/>
          <p:nvPr/>
        </p:nvSpPr>
        <p:spPr>
          <a:xfrm>
            <a:off x="7357137" y="6944328"/>
            <a:ext cx="2455213" cy="326253"/>
          </a:xfrm>
          <a:prstGeom prst="rect">
            <a:avLst/>
          </a:prstGeom>
          <a:noFill/>
        </p:spPr>
        <p:txBody>
          <a:bodyPr wrap="square" lIns="64017" tIns="32009" rIns="64017" bIns="32009" rtlCol="0">
            <a:spAutoFit/>
          </a:bodyPr>
          <a:lstStyle/>
          <a:p>
            <a:pPr algn="ctr"/>
            <a:r>
              <a:rPr lang="de-DE" sz="1700" b="1" dirty="0" smtClean="0"/>
              <a:t>Nominal </a:t>
            </a:r>
            <a:r>
              <a:rPr lang="de-DE" sz="1700" b="1" dirty="0" err="1" smtClean="0"/>
              <a:t>size</a:t>
            </a:r>
            <a:r>
              <a:rPr lang="de-DE" sz="1700" b="1" dirty="0" smtClean="0"/>
              <a:t> </a:t>
            </a:r>
            <a:r>
              <a:rPr lang="de-DE" sz="1700" b="1" dirty="0"/>
              <a:t>10</a:t>
            </a:r>
          </a:p>
        </p:txBody>
      </p:sp>
      <p:cxnSp>
        <p:nvCxnSpPr>
          <p:cNvPr id="15" name="Gerade Verbindung mit Pfeil 14"/>
          <p:cNvCxnSpPr/>
          <p:nvPr/>
        </p:nvCxnSpPr>
        <p:spPr bwMode="auto">
          <a:xfrm>
            <a:off x="972080" y="5051473"/>
            <a:ext cx="478446" cy="0"/>
          </a:xfrm>
          <a:prstGeom prst="straightConnector1">
            <a:avLst/>
          </a:prstGeom>
          <a:solidFill>
            <a:schemeClr val="accent1"/>
          </a:solidFill>
          <a:ln w="635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5" name="Gerade Verbindung mit Pfeil 44"/>
          <p:cNvCxnSpPr/>
          <p:nvPr/>
        </p:nvCxnSpPr>
        <p:spPr bwMode="auto">
          <a:xfrm>
            <a:off x="4039690" y="4927633"/>
            <a:ext cx="448070" cy="0"/>
          </a:xfrm>
          <a:prstGeom prst="straightConnector1">
            <a:avLst/>
          </a:prstGeom>
          <a:solidFill>
            <a:schemeClr val="accent1"/>
          </a:solidFill>
          <a:ln w="762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cxnSp>
        <p:nvCxnSpPr>
          <p:cNvPr id="46" name="Gerade Verbindung mit Pfeil 45"/>
          <p:cNvCxnSpPr/>
          <p:nvPr/>
        </p:nvCxnSpPr>
        <p:spPr bwMode="auto">
          <a:xfrm>
            <a:off x="6733309" y="4802301"/>
            <a:ext cx="725345" cy="0"/>
          </a:xfrm>
          <a:prstGeom prst="straightConnector1">
            <a:avLst/>
          </a:prstGeom>
          <a:solidFill>
            <a:schemeClr val="accent1"/>
          </a:solidFill>
          <a:ln w="101600" cap="flat" cmpd="sng" algn="ctr">
            <a:solidFill>
              <a:srgbClr val="0070C0"/>
            </a:solidFill>
            <a:prstDash val="solid"/>
            <a:round/>
            <a:headEnd type="none" w="med" len="med"/>
            <a:tailEnd type="arrow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</p:spTree>
    <p:extLst>
      <p:ext uri="{BB962C8B-B14F-4D97-AF65-F5344CB8AC3E}">
        <p14:creationId xmlns:p14="http://schemas.microsoft.com/office/powerpoint/2010/main" val="232623475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1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5" grpId="0" animBg="1"/>
      <p:bldP spid="26" grpId="0" animBg="1"/>
      <p:bldP spid="13" grpId="0"/>
      <p:bldP spid="40" grpId="0"/>
      <p:bldP spid="41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182938" y="415925"/>
            <a:ext cx="6513512" cy="517525"/>
          </a:xfrm>
        </p:spPr>
        <p:txBody>
          <a:bodyPr/>
          <a:lstStyle/>
          <a:p>
            <a:pPr eaLnBrk="1" hangingPunct="1"/>
            <a:r>
              <a:rPr lang="de-DE" smtClean="0">
                <a:solidFill>
                  <a:srgbClr val="000000"/>
                </a:solidFill>
              </a:rPr>
              <a:t>Headline, Verdana Fett 20 P. Maximal </a:t>
            </a:r>
            <a:br>
              <a:rPr lang="de-DE" smtClean="0">
                <a:solidFill>
                  <a:srgbClr val="000000"/>
                </a:solidFill>
              </a:rPr>
            </a:br>
            <a:r>
              <a:rPr lang="de-DE" smtClean="0">
                <a:solidFill>
                  <a:srgbClr val="000000"/>
                </a:solidFill>
              </a:rPr>
              <a:t>zwei Zeilen. Zeilenabstand 1,1 Zeilen.</a:t>
            </a:r>
          </a:p>
        </p:txBody>
      </p:sp>
      <p:sp>
        <p:nvSpPr>
          <p:cNvPr id="7171" name="Rectangle 3"/>
          <p:cNvSpPr>
            <a:spLocks noChangeArrowheads="1"/>
          </p:cNvSpPr>
          <p:nvPr/>
        </p:nvSpPr>
        <p:spPr bwMode="auto">
          <a:xfrm>
            <a:off x="0" y="0"/>
            <a:ext cx="10668000" cy="7543800"/>
          </a:xfrm>
          <a:prstGeom prst="rect">
            <a:avLst/>
          </a:prstGeom>
          <a:solidFill>
            <a:srgbClr val="E2001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26" tIns="45713" rIns="91426" bIns="45713" anchor="ctr"/>
          <a:lstStyle/>
          <a:p>
            <a:endParaRPr lang="de-DE"/>
          </a:p>
        </p:txBody>
      </p:sp>
      <p:sp>
        <p:nvSpPr>
          <p:cNvPr id="7172" name="Text Box 4"/>
          <p:cNvSpPr txBox="1">
            <a:spLocks noChangeArrowheads="1"/>
          </p:cNvSpPr>
          <p:nvPr/>
        </p:nvSpPr>
        <p:spPr bwMode="auto">
          <a:xfrm>
            <a:off x="1609725" y="2260600"/>
            <a:ext cx="8736013" cy="28209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6" tIns="45713" rIns="91426" bIns="45713"/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eaLnBrk="1" hangingPunct="1">
              <a:lnSpc>
                <a:spcPct val="125000"/>
              </a:lnSpc>
              <a:spcBef>
                <a:spcPct val="50000"/>
              </a:spcBef>
            </a:pPr>
            <a:r>
              <a:rPr lang="de-DE" sz="4000" b="1" dirty="0" smtClean="0">
                <a:solidFill>
                  <a:schemeClr val="bg1"/>
                </a:solidFill>
              </a:rPr>
              <a:t>1.) </a:t>
            </a:r>
            <a:r>
              <a:rPr lang="de-DE" sz="4000" b="1" dirty="0" err="1" smtClean="0">
                <a:solidFill>
                  <a:schemeClr val="bg1"/>
                </a:solidFill>
              </a:rPr>
              <a:t>Sizing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according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to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produced</a:t>
            </a:r>
            <a:r>
              <a:rPr lang="de-DE" sz="4000" b="1" dirty="0" smtClean="0">
                <a:solidFill>
                  <a:schemeClr val="bg1"/>
                </a:solidFill>
              </a:rPr>
              <a:t> </a:t>
            </a:r>
            <a:r>
              <a:rPr lang="de-DE" sz="4000" b="1" dirty="0" err="1" smtClean="0">
                <a:solidFill>
                  <a:schemeClr val="bg1"/>
                </a:solidFill>
              </a:rPr>
              <a:t>meals</a:t>
            </a:r>
            <a:r>
              <a:rPr lang="de-DE" sz="4000" b="1" dirty="0" smtClean="0">
                <a:solidFill>
                  <a:schemeClr val="bg1"/>
                </a:solidFill>
              </a:rPr>
              <a:t> per </a:t>
            </a:r>
            <a:r>
              <a:rPr lang="de-DE" sz="4000" b="1" dirty="0" err="1" smtClean="0">
                <a:solidFill>
                  <a:schemeClr val="bg1"/>
                </a:solidFill>
              </a:rPr>
              <a:t>day</a:t>
            </a:r>
            <a:endParaRPr lang="de-DE" sz="4000" b="1" dirty="0">
              <a:solidFill>
                <a:schemeClr val="bg1"/>
              </a:solidFill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3649244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71842" name="Rectangle 2"/>
          <p:cNvSpPr>
            <a:spLocks noChangeArrowheads="1"/>
          </p:cNvSpPr>
          <p:nvPr/>
        </p:nvSpPr>
        <p:spPr bwMode="auto">
          <a:xfrm>
            <a:off x="4009300" y="2087100"/>
            <a:ext cx="4343400" cy="1600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252000" bIns="0"/>
          <a:lstStyle/>
          <a:p>
            <a:pPr marL="1588" lvl="1" defTabSz="1054100">
              <a:lnSpc>
                <a:spcPts val="2200"/>
              </a:lnSpc>
              <a:buClr>
                <a:schemeClr val="tx1"/>
              </a:buClr>
              <a:buSzPct val="90000"/>
              <a:buFont typeface="StoneSans-Bold" pitchFamily="2" charset="0"/>
              <a:buNone/>
            </a:pPr>
            <a:endParaRPr lang="de-DE" sz="1600" b="1"/>
          </a:p>
        </p:txBody>
      </p:sp>
      <p:sp>
        <p:nvSpPr>
          <p:cNvPr id="1571843" name="Rectangle 3"/>
          <p:cNvSpPr>
            <a:spLocks noChangeArrowheads="1"/>
          </p:cNvSpPr>
          <p:nvPr/>
        </p:nvSpPr>
        <p:spPr bwMode="auto">
          <a:xfrm>
            <a:off x="6477000" y="304800"/>
            <a:ext cx="3657600" cy="812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/>
          <a:lstStyle/>
          <a:p>
            <a:pPr algn="r"/>
            <a:endParaRPr lang="de-DE" sz="1800" b="1">
              <a:latin typeface="Arial Black" pitchFamily="34" charset="0"/>
            </a:endParaRPr>
          </a:p>
        </p:txBody>
      </p:sp>
      <p:sp>
        <p:nvSpPr>
          <p:cNvPr id="1571844" name="Rectangle 4"/>
          <p:cNvSpPr>
            <a:spLocks noGrp="1" noChangeArrowheads="1"/>
          </p:cNvSpPr>
          <p:nvPr>
            <p:ph type="title"/>
          </p:nvPr>
        </p:nvSpPr>
        <p:spPr>
          <a:xfrm>
            <a:off x="2745344" y="228600"/>
            <a:ext cx="6513513" cy="704850"/>
          </a:xfrm>
        </p:spPr>
        <p:txBody>
          <a:bodyPr/>
          <a:lstStyle/>
          <a:p>
            <a:r>
              <a:rPr lang="de-DE" dirty="0" err="1" smtClean="0"/>
              <a:t>Dimensioning</a:t>
            </a:r>
            <a:r>
              <a:rPr lang="de-DE" dirty="0" smtClean="0"/>
              <a:t> </a:t>
            </a:r>
            <a:r>
              <a:rPr lang="de-DE" dirty="0" err="1" smtClean="0"/>
              <a:t>according</a:t>
            </a:r>
            <a:r>
              <a:rPr lang="de-DE" dirty="0" smtClean="0"/>
              <a:t>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meals</a:t>
            </a:r>
            <a:r>
              <a:rPr lang="de-DE" dirty="0" smtClean="0"/>
              <a:t> per </a:t>
            </a:r>
            <a:r>
              <a:rPr lang="de-DE" dirty="0" err="1" smtClean="0"/>
              <a:t>day</a:t>
            </a:r>
            <a:endParaRPr lang="de-DE" dirty="0"/>
          </a:p>
        </p:txBody>
      </p:sp>
      <p:pic>
        <p:nvPicPr>
          <p:cNvPr id="1571854" name="Picture 14" descr="bodenseebraten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11600" y="3167100"/>
            <a:ext cx="2921000" cy="2368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Text Box 19"/>
          <p:cNvSpPr txBox="1">
            <a:spLocks noChangeArrowheads="1"/>
          </p:cNvSpPr>
          <p:nvPr/>
        </p:nvSpPr>
        <p:spPr bwMode="auto">
          <a:xfrm>
            <a:off x="4686000" y="3943218"/>
            <a:ext cx="5599000" cy="18158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1pPr>
            <a:lvl2pPr marL="742950" indent="-28575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2pPr>
            <a:lvl3pPr marL="11430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3pPr>
            <a:lvl4pPr marL="16002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4pPr>
            <a:lvl5pPr marL="2057400" indent="-228600" eaLnBrk="0" hangingPunct="0"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500">
                <a:solidFill>
                  <a:srgbClr val="191919"/>
                </a:solidFill>
                <a:latin typeface="Verdana" pitchFamily="34" charset="0"/>
                <a:cs typeface="Arial" pitchFamily="34" charset="0"/>
              </a:defRPr>
            </a:lvl9pPr>
          </a:lstStyle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r>
              <a:rPr lang="de-DE" sz="1600" b="1" smtClean="0">
                <a:solidFill>
                  <a:schemeClr val="tx1"/>
                </a:solidFill>
              </a:rPr>
              <a:t>Type of kitchen</a:t>
            </a:r>
          </a:p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endParaRPr lang="de-DE" sz="1600" b="1">
              <a:solidFill>
                <a:schemeClr val="tx1"/>
              </a:solidFill>
            </a:endParaRPr>
          </a:p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r>
              <a:rPr lang="de-DE" sz="1600" b="1" smtClean="0">
                <a:solidFill>
                  <a:schemeClr val="tx1"/>
                </a:solidFill>
              </a:rPr>
              <a:t>Quantity of produced meals per day</a:t>
            </a:r>
          </a:p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endParaRPr lang="de-DE" sz="1600" b="1">
              <a:solidFill>
                <a:schemeClr val="tx1"/>
              </a:solidFill>
            </a:endParaRPr>
          </a:p>
          <a:p>
            <a:pPr marL="285750" indent="-285750" eaLnBrk="1" hangingPunct="1">
              <a:spcBef>
                <a:spcPct val="50000"/>
              </a:spcBef>
              <a:buFont typeface="Wingdings" pitchFamily="2" charset="2"/>
              <a:buChar char="§"/>
            </a:pPr>
            <a:r>
              <a:rPr lang="de-DE" sz="1600" b="1" smtClean="0">
                <a:solidFill>
                  <a:schemeClr val="tx1"/>
                </a:solidFill>
              </a:rPr>
              <a:t>Operating hours</a:t>
            </a:r>
            <a:endParaRPr lang="de-DE" sz="1600">
              <a:solidFill>
                <a:schemeClr val="tx1"/>
              </a:solidFill>
            </a:endParaRPr>
          </a:p>
        </p:txBody>
      </p:sp>
      <p:sp>
        <p:nvSpPr>
          <p:cNvPr id="14" name="Rectangle 4"/>
          <p:cNvSpPr txBox="1">
            <a:spLocks noChangeArrowheads="1"/>
          </p:cNvSpPr>
          <p:nvPr/>
        </p:nvSpPr>
        <p:spPr bwMode="auto">
          <a:xfrm>
            <a:off x="4717223" y="2602347"/>
            <a:ext cx="2102300" cy="517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5pPr>
            <a:lvl6pPr marL="4572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6pPr>
            <a:lvl7pPr marL="9144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7pPr>
            <a:lvl8pPr marL="13716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8pPr>
            <a:lvl9pPr marL="1828800" algn="l" rtl="0" fontAlgn="base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chemeClr val="tx1"/>
                </a:solidFill>
                <a:latin typeface="Verdana" pitchFamily="34" charset="0"/>
              </a:defRPr>
            </a:lvl9pPr>
          </a:lstStyle>
          <a:p>
            <a:r>
              <a:rPr lang="de-DE" kern="0" smtClean="0"/>
              <a:t>Factors:</a:t>
            </a:r>
            <a:endParaRPr lang="de-DE" kern="0" dirty="0"/>
          </a:p>
        </p:txBody>
      </p:sp>
      <p:cxnSp>
        <p:nvCxnSpPr>
          <p:cNvPr id="5" name="Gerade Verbindung 4"/>
          <p:cNvCxnSpPr/>
          <p:nvPr/>
        </p:nvCxnSpPr>
        <p:spPr bwMode="auto">
          <a:xfrm>
            <a:off x="4717223" y="3339900"/>
            <a:ext cx="3635477" cy="0"/>
          </a:xfrm>
          <a:prstGeom prst="line">
            <a:avLst/>
          </a:prstGeom>
          <a:solidFill>
            <a:schemeClr val="accent1"/>
          </a:solidFill>
          <a:ln w="381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2" name="Ellipse 1"/>
          <p:cNvSpPr/>
          <p:nvPr/>
        </p:nvSpPr>
        <p:spPr bwMode="auto">
          <a:xfrm>
            <a:off x="4519441" y="3871357"/>
            <a:ext cx="2497864" cy="527520"/>
          </a:xfrm>
          <a:prstGeom prst="ellipse">
            <a:avLst/>
          </a:prstGeom>
          <a:noFill/>
          <a:ln w="5080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500" b="0" i="0" u="none" strike="noStrike" cap="none" normalizeH="0" baseline="0" smtClean="0">
              <a:ln>
                <a:noFill/>
              </a:ln>
              <a:solidFill>
                <a:srgbClr val="191919"/>
              </a:solidFill>
              <a:effectLst/>
              <a:latin typeface="Verdan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08599139"/>
      </p:ext>
    </p:extLst>
  </p:cSld>
  <p:clrMapOvr>
    <a:masterClrMapping/>
  </p:clrMapOvr>
  <p:transition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718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5718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5718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55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5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571842" grpId="0" autoUpdateAnimBg="0"/>
      <p:bldP spid="13" grpId="0"/>
      <p:bldP spid="2" grpId="0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_fY2SnSpd0u2wfeDB1tWv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1Y9Rybg9UOdldqly00l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CL008fCU0SYqGWZW26B8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JL0Fo5Oh0ePAQlzmIhC5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FXt1RJMJEClew03vzsaM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IbXu91ZNUesk6bcfSPbC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TYPE" val="SlideTextGist"/>
</p:tagLst>
</file>

<file path=ppt/theme/theme1.xml><?xml version="1.0" encoding="utf-8"?>
<a:theme xmlns:a="http://schemas.openxmlformats.org/drawingml/2006/main" name="2_Benutzerdefiniertes Design">
  <a:themeElements>
    <a:clrScheme name="2_Benutzerdefiniertes Design 1">
      <a:dk1>
        <a:srgbClr val="000000"/>
      </a:dk1>
      <a:lt1>
        <a:srgbClr val="FFFFFF"/>
      </a:lt1>
      <a:dk2>
        <a:srgbClr val="FABA00"/>
      </a:dk2>
      <a:lt2>
        <a:srgbClr val="95AE17"/>
      </a:lt2>
      <a:accent1>
        <a:srgbClr val="E2001A"/>
      </a:accent1>
      <a:accent2>
        <a:srgbClr val="005A9A"/>
      </a:accent2>
      <a:accent3>
        <a:srgbClr val="FFFFFF"/>
      </a:accent3>
      <a:accent4>
        <a:srgbClr val="000000"/>
      </a:accent4>
      <a:accent5>
        <a:srgbClr val="EEAAAB"/>
      </a:accent5>
      <a:accent6>
        <a:srgbClr val="00518B"/>
      </a:accent6>
      <a:hlink>
        <a:srgbClr val="5ABEE4"/>
      </a:hlink>
      <a:folHlink>
        <a:srgbClr val="EC7405"/>
      </a:folHlink>
    </a:clrScheme>
    <a:fontScheme name="2_Benutzerdefiniertes Desig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1500" b="0" i="0" u="none" strike="noStrike" cap="none" normalizeH="0" baseline="0" smtClean="0">
            <a:ln>
              <a:noFill/>
            </a:ln>
            <a:solidFill>
              <a:srgbClr val="191919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2_Benutzerdefiniertes Design 1">
        <a:dk1>
          <a:srgbClr val="000000"/>
        </a:dk1>
        <a:lt1>
          <a:srgbClr val="FFFFFF"/>
        </a:lt1>
        <a:dk2>
          <a:srgbClr val="FABA00"/>
        </a:dk2>
        <a:lt2>
          <a:srgbClr val="95AE17"/>
        </a:lt2>
        <a:accent1>
          <a:srgbClr val="E2001A"/>
        </a:accent1>
        <a:accent2>
          <a:srgbClr val="005A9A"/>
        </a:accent2>
        <a:accent3>
          <a:srgbClr val="FFFFFF"/>
        </a:accent3>
        <a:accent4>
          <a:srgbClr val="000000"/>
        </a:accent4>
        <a:accent5>
          <a:srgbClr val="EEAAAB"/>
        </a:accent5>
        <a:accent6>
          <a:srgbClr val="00518B"/>
        </a:accent6>
        <a:hlink>
          <a:srgbClr val="5ABEE4"/>
        </a:hlink>
        <a:folHlink>
          <a:srgbClr val="EC7405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Benutzerdefiniertes Design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751</Words>
  <Application>Microsoft Office PowerPoint</Application>
  <PresentationFormat>Benutzerdefiniert</PresentationFormat>
  <Paragraphs>206</Paragraphs>
  <Slides>32</Slides>
  <Notes>18</Notes>
  <HiddenSlides>0</HiddenSlides>
  <MMClips>0</MMClips>
  <ScaleCrop>false</ScaleCrop>
  <HeadingPairs>
    <vt:vector size="4" baseType="variant">
      <vt:variant>
        <vt:lpstr>Design</vt:lpstr>
      </vt:variant>
      <vt:variant>
        <vt:i4>2</vt:i4>
      </vt:variant>
      <vt:variant>
        <vt:lpstr>Folientitel</vt:lpstr>
      </vt:variant>
      <vt:variant>
        <vt:i4>32</vt:i4>
      </vt:variant>
    </vt:vector>
  </HeadingPairs>
  <TitlesOfParts>
    <vt:vector size="34" baseType="lpstr">
      <vt:lpstr>2_Benutzerdefiniertes Design</vt:lpstr>
      <vt:lpstr>Benutzerdefiniertes Design</vt:lpstr>
      <vt:lpstr>PowerPoint-Präsentation</vt:lpstr>
      <vt:lpstr>DIMENSIONING</vt:lpstr>
      <vt:lpstr>Regulations for Grease Separators</vt:lpstr>
      <vt:lpstr>Dimensioning: Determination of Nominal Size</vt:lpstr>
      <vt:lpstr>PowerPoint-Präsentation</vt:lpstr>
      <vt:lpstr>Dimensioning (EN 1825) European Standard</vt:lpstr>
      <vt:lpstr>Examples of Dimensioning</vt:lpstr>
      <vt:lpstr>Headline, Verdana Fett 20 P. Maximal  zwei Zeilen. Zeilenabstand 1,1 Zeilen.</vt:lpstr>
      <vt:lpstr>Dimensioning according to meals per day</vt:lpstr>
      <vt:lpstr>Types of kitchen</vt:lpstr>
      <vt:lpstr>Type of kitchen</vt:lpstr>
      <vt:lpstr>Produced meals per day</vt:lpstr>
      <vt:lpstr>Produced meals per day</vt:lpstr>
      <vt:lpstr>Operating hours</vt:lpstr>
      <vt:lpstr>Operating hours</vt:lpstr>
      <vt:lpstr>Headline, Verdana Fett 20 P. Maximal  zwei Zeilen. Zeilenabstand 1,1 Zeilen.</vt:lpstr>
      <vt:lpstr>Types of Difficulty factors</vt:lpstr>
      <vt:lpstr>Difficulty factor: Cleaning Agents</vt:lpstr>
      <vt:lpstr>Difficulty factor: temperature</vt:lpstr>
      <vt:lpstr>Difficulty factor: density of cooking oil</vt:lpstr>
      <vt:lpstr>PowerPoint-Präsentation</vt:lpstr>
      <vt:lpstr>PowerPoint-Präsentation</vt:lpstr>
      <vt:lpstr>PowerPoint-Präsentation</vt:lpstr>
      <vt:lpstr>Headline, Verdana Fett 20 P. Maximal  zwei Zeilen. Zeilenabstand 1,1 Zeilen.</vt:lpstr>
      <vt:lpstr>Dimensioning according kitchen equipment</vt:lpstr>
      <vt:lpstr>Dimensioning according to kitchen equipment</vt:lpstr>
      <vt:lpstr>Dimensioning according to kitchen equipment</vt:lpstr>
      <vt:lpstr>Headline, Verdana Fett 20 P. Maximal  zwei Zeilen. Zeilenabstand 1,1 Zeilen.</vt:lpstr>
      <vt:lpstr>PowerPoint-Präsentation</vt:lpstr>
      <vt:lpstr>PowerPoint-Präsentation</vt:lpstr>
      <vt:lpstr>PowerPoint-Präsentation</vt:lpstr>
      <vt:lpstr>Headline, Verdana Fett 20 P. Maximal  zwei Zeilen. Zeilenabstand 1,1 Zeilen.</vt:lpstr>
    </vt:vector>
  </TitlesOfParts>
  <Company>ACO Passavant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Normen</dc:title>
  <dc:subject>Abscheider Schulung</dc:subject>
  <dc:creator>Thes Dallmeier-Tiessen</dc:creator>
  <cp:lastModifiedBy>Jäger, Matthias</cp:lastModifiedBy>
  <cp:revision>428</cp:revision>
  <dcterms:created xsi:type="dcterms:W3CDTF">2001-04-10T08:20:04Z</dcterms:created>
  <dcterms:modified xsi:type="dcterms:W3CDTF">2016-09-21T09:22:11Z</dcterms:modified>
</cp:coreProperties>
</file>